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2.xml" ContentType="application/vnd.openxmlformats-officedocument.drawingml.chartshape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69" r:id="rId2"/>
    <p:sldMasterId id="2147483675" r:id="rId3"/>
    <p:sldMasterId id="2147483689" r:id="rId4"/>
  </p:sldMasterIdLst>
  <p:notesMasterIdLst>
    <p:notesMasterId r:id="rId21"/>
  </p:notesMasterIdLst>
  <p:sldIdLst>
    <p:sldId id="260" r:id="rId5"/>
    <p:sldId id="284" r:id="rId6"/>
    <p:sldId id="285" r:id="rId7"/>
    <p:sldId id="259" r:id="rId8"/>
    <p:sldId id="287" r:id="rId9"/>
    <p:sldId id="263" r:id="rId10"/>
    <p:sldId id="269" r:id="rId11"/>
    <p:sldId id="271" r:id="rId12"/>
    <p:sldId id="282" r:id="rId13"/>
    <p:sldId id="280" r:id="rId14"/>
    <p:sldId id="283" r:id="rId15"/>
    <p:sldId id="270" r:id="rId16"/>
    <p:sldId id="279" r:id="rId17"/>
    <p:sldId id="288" r:id="rId18"/>
    <p:sldId id="289" r:id="rId19"/>
    <p:sldId id="290" r:id="rId20"/>
  </p:sldIdLst>
  <p:sldSz cx="12192000" cy="6858000"/>
  <p:notesSz cx="6858000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" initials="u" lastIdx="1" clrIdx="0">
    <p:extLst>
      <p:ext uri="{19B8F6BF-5375-455C-9EA6-DF929625EA0E}">
        <p15:presenceInfo xmlns:p15="http://schemas.microsoft.com/office/powerpoint/2012/main" userId="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6395" autoAdjust="0"/>
  </p:normalViewPr>
  <p:slideViewPr>
    <p:cSldViewPr snapToGrid="0">
      <p:cViewPr varScale="1">
        <p:scale>
          <a:sx n="101" d="100"/>
          <a:sy n="101" d="100"/>
        </p:scale>
        <p:origin x="126" y="3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indent="0" algn="just" defTabSz="1217585" rtl="0" eaLnBrk="1" latinLnBrk="0" hangingPunct="1">
              <a:lnSpc>
                <a:spcPct val="90000"/>
              </a:lnSpc>
              <a:spcBef>
                <a:spcPts val="999"/>
              </a:spcBef>
              <a:buFont typeface="Arial" panose="020B0604020202020204" pitchFamily="34" charset="0"/>
              <a:buNone/>
              <a:defRPr lang="ru-RU" sz="1400" b="0" i="0" u="none" strike="noStrike" kern="0" spc="0" baseline="0">
                <a:solidFill>
                  <a:schemeClr val="tx1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 Regular" pitchFamily="34" charset="-120"/>
              </a:defRPr>
            </a:pPr>
            <a:r>
              <a:rPr lang="ru-RU" sz="1400" kern="0" dirty="0" smtClean="0">
                <a:solidFill>
                  <a:schemeClr val="tx1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 Regular" pitchFamily="34" charset="-120"/>
              </a:rPr>
              <a:t>Состав Заявителей</a:t>
            </a:r>
            <a:r>
              <a:rPr lang="ru-RU" sz="1400" kern="0" baseline="0" dirty="0" smtClean="0">
                <a:solidFill>
                  <a:schemeClr val="tx1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 Regular" pitchFamily="34" charset="-120"/>
              </a:rPr>
              <a:t> </a:t>
            </a:r>
            <a:r>
              <a:rPr lang="ru-RU" sz="1400" kern="0" dirty="0" smtClean="0">
                <a:solidFill>
                  <a:schemeClr val="tx1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 Regular" pitchFamily="34" charset="-120"/>
              </a:rPr>
              <a:t>(</a:t>
            </a:r>
            <a:r>
              <a:rPr lang="ru-RU" sz="1400" kern="0" dirty="0">
                <a:solidFill>
                  <a:schemeClr val="tx1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 Regular" pitchFamily="34" charset="-120"/>
              </a:rPr>
              <a:t>по </a:t>
            </a:r>
            <a:r>
              <a:rPr lang="ru-RU" sz="1400" kern="0" dirty="0" smtClean="0">
                <a:solidFill>
                  <a:schemeClr val="tx1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 Regular" pitchFamily="34" charset="-120"/>
              </a:rPr>
              <a:t>вузам</a:t>
            </a:r>
            <a:r>
              <a:rPr lang="ru-RU" sz="1400" kern="0" dirty="0">
                <a:solidFill>
                  <a:schemeClr val="tx1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 Regular" pitchFamily="34" charset="-120"/>
              </a:rPr>
              <a:t>)</a:t>
            </a:r>
          </a:p>
        </c:rich>
      </c:tx>
      <c:layout>
        <c:manualLayout>
          <c:xMode val="edge"/>
          <c:yMode val="edge"/>
          <c:x val="0.2545694942517566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indent="0" algn="just" defTabSz="1217585" rtl="0" eaLnBrk="1" latinLnBrk="0" hangingPunct="1">
            <a:lnSpc>
              <a:spcPct val="90000"/>
            </a:lnSpc>
            <a:spcBef>
              <a:spcPts val="999"/>
            </a:spcBef>
            <a:buFont typeface="Arial" panose="020B0604020202020204" pitchFamily="34" charset="0"/>
            <a:buNone/>
            <a:defRPr lang="ru-RU" sz="1400" b="0" i="0" u="none" strike="noStrike" kern="0" spc="0" baseline="0">
              <a:solidFill>
                <a:schemeClr val="tx1"/>
              </a:solidFill>
              <a:latin typeface="Rosatom" panose="020B0503040504020204" pitchFamily="34" charset="-52"/>
              <a:ea typeface="Rosatom" panose="020B0503040504020204" pitchFamily="34" charset="-52"/>
              <a:cs typeface="Arial Regular" pitchFamily="34" charset="-120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 студентов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Лист1!$A$2:$A$6</c:f>
              <c:strCache>
                <c:ptCount val="5"/>
                <c:pt idx="0">
                  <c:v>МИФИ</c:v>
                </c:pt>
                <c:pt idx="1">
                  <c:v>МЭИ</c:v>
                </c:pt>
                <c:pt idx="2">
                  <c:v>МФТИ</c:v>
                </c:pt>
                <c:pt idx="3">
                  <c:v>КАИ </c:v>
                </c:pt>
                <c:pt idx="4">
                  <c:v>Другие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7</c:v>
                </c:pt>
                <c:pt idx="1">
                  <c:v>3</c:v>
                </c:pt>
                <c:pt idx="2">
                  <c:v>7</c:v>
                </c:pt>
                <c:pt idx="3">
                  <c:v>1</c:v>
                </c:pt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5A-4F8C-8284-5E93B6A52D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8812672"/>
        <c:axId val="378957904"/>
      </c:barChart>
      <c:dateAx>
        <c:axId val="2488126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78957904"/>
        <c:crosses val="autoZero"/>
        <c:auto val="0"/>
        <c:lblOffset val="10"/>
        <c:baseTimeUnit val="days"/>
        <c:majorUnit val="1"/>
      </c:dateAx>
      <c:valAx>
        <c:axId val="378957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RU" sz="1066" b="0" i="0" u="none" strike="noStrike" kern="0" baseline="0">
                <a:solidFill>
                  <a:schemeClr val="tx1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 Regular" pitchFamily="34" charset="-120"/>
              </a:defRPr>
            </a:pPr>
            <a:endParaRPr lang="ru-RU"/>
          </a:p>
        </c:txPr>
        <c:crossAx val="248812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 marL="0" algn="ctr" defTabSz="1217585" rtl="0" eaLnBrk="1" latinLnBrk="0" hangingPunct="1">
        <a:defRPr lang="ru-RU" sz="1066" kern="0">
          <a:solidFill>
            <a:schemeClr val="tx1"/>
          </a:solidFill>
          <a:latin typeface="Rosatom" panose="020B0503040504020204" pitchFamily="34" charset="-52"/>
          <a:ea typeface="Rosatom" panose="020B0503040504020204" pitchFamily="34" charset="-52"/>
          <a:cs typeface="Arial Regular" pitchFamily="34" charset="-120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85840999658757"/>
          <c:y val="0.42398305820645049"/>
          <c:w val="0.73051976895632154"/>
          <c:h val="0.325352207959708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2.04.01 Материаловедение и технология материалов</c:v>
                </c:pt>
              </c:strCache>
            </c:strRef>
          </c:tx>
          <c:spPr>
            <a:solidFill>
              <a:schemeClr val="accent5">
                <a:shade val="5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1"/>
                <c:pt idx="0">
                  <c:v>Направления подготовки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C0-46EF-870F-D3D43F35E4C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03.04.01 Прикладные математика и физика</c:v>
                </c:pt>
              </c:strCache>
            </c:strRef>
          </c:tx>
          <c:spPr>
            <a:solidFill>
              <a:schemeClr val="accent5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1"/>
                <c:pt idx="0">
                  <c:v>Направления подготовки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C0-46EF-870F-D3D43F35E4C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14.04.01 Ядерная энергетика и теплофизика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1"/>
                <c:pt idx="0">
                  <c:v>Направления подготовки</c:v>
                </c:pt>
              </c:strCache>
            </c:strRef>
          </c:cat>
          <c:val>
            <c:numRef>
              <c:f>Лист1!$D$2:$D$3</c:f>
              <c:numCache>
                <c:formatCode>General</c:formatCode>
                <c:ptCount val="2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C0-46EF-870F-D3D43F35E4C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13.04.01 Теплоэнергетика и теплотехника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1"/>
                <c:pt idx="0">
                  <c:v>Направления подготовки</c:v>
                </c:pt>
              </c:strCache>
            </c:strRef>
          </c:cat>
          <c:val>
            <c:numRef>
              <c:f>Лист1!$E$2:$E$3</c:f>
              <c:numCache>
                <c:formatCode>General</c:formatCode>
                <c:ptCount val="2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3C0-46EF-870F-D3D43F35E4C0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14.04.02 Ядерные физика и технологии</c:v>
                </c:pt>
              </c:strCache>
            </c:strRef>
          </c:tx>
          <c:spPr>
            <a:solidFill>
              <a:schemeClr val="accent5">
                <a:tint val="5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1"/>
                <c:pt idx="0">
                  <c:v>Направления подготовки</c:v>
                </c:pt>
              </c:strCache>
            </c:strRef>
          </c:cat>
          <c:val>
            <c:numRef>
              <c:f>Лист1!$F$2:$F$3</c:f>
              <c:numCache>
                <c:formatCode>General</c:formatCode>
                <c:ptCount val="2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3C0-46EF-870F-D3D43F35E4C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85410000"/>
        <c:axId val="285409440"/>
      </c:barChart>
      <c:catAx>
        <c:axId val="2854100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85409440"/>
        <c:crosses val="autoZero"/>
        <c:auto val="1"/>
        <c:lblAlgn val="ctr"/>
        <c:lblOffset val="100"/>
        <c:noMultiLvlLbl val="0"/>
      </c:catAx>
      <c:valAx>
        <c:axId val="285409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854100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2"/>
                </a:solidFill>
                <a:latin typeface="Rosatom" panose="020B0503040504020204" pitchFamily="34" charset="-52"/>
                <a:ea typeface="Rosatom" panose="020B0503040504020204" pitchFamily="34" charset="-52"/>
                <a:cs typeface="+mn-cs"/>
              </a:defRPr>
            </a:pP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Rosatom" panose="020B0503040504020204" pitchFamily="34" charset="-52"/>
                <a:ea typeface="Rosatom" panose="020B0503040504020204" pitchFamily="34" charset="-52"/>
              </a:rPr>
              <a:t>СРЕДНИЙ БАЛЛ УСПЕВАЕМОСТИ</a:t>
            </a:r>
            <a:endParaRPr lang="ru-RU" sz="1200" dirty="0">
              <a:solidFill>
                <a:schemeClr val="accent1">
                  <a:lumMod val="50000"/>
                </a:schemeClr>
              </a:solidFill>
              <a:latin typeface="Rosatom" panose="020B0503040504020204" pitchFamily="34" charset="-52"/>
              <a:ea typeface="Rosatom" panose="020B0503040504020204" pitchFamily="34" charset="-52"/>
            </a:endParaRPr>
          </a:p>
        </c:rich>
      </c:tx>
      <c:layout>
        <c:manualLayout>
          <c:xMode val="edge"/>
          <c:yMode val="edge"/>
          <c:x val="0.19553152455495018"/>
          <c:y val="1.63291302014850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2"/>
              </a:solidFill>
              <a:latin typeface="Rosatom" panose="020B0503040504020204" pitchFamily="34" charset="-52"/>
              <a:ea typeface="Rosatom" panose="020B0503040504020204" pitchFamily="34" charset="-52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 участников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5">
                      <a:shade val="58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hade val="58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shade val="58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8918-4C17-9ECD-08DEC2B286E0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5">
                      <a:shade val="86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hade val="86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shade val="86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8918-4C17-9ECD-08DEC2B286E0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5">
                      <a:tint val="86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tint val="86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tint val="86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8918-4C17-9ECD-08DEC2B286E0}"/>
              </c:ext>
            </c:extLst>
          </c:dPt>
          <c:dPt>
            <c:idx val="3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8918-4C17-9ECD-08DEC2B286E0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tint val="54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tint val="54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tint val="54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8918-4C17-9ECD-08DEC2B286E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6</c:f>
              <c:strCache>
                <c:ptCount val="5"/>
                <c:pt idx="0">
                  <c:v>5.00</c:v>
                </c:pt>
                <c:pt idx="1">
                  <c:v>4.8-4.9</c:v>
                </c:pt>
                <c:pt idx="2">
                  <c:v>4.6-4.7</c:v>
                </c:pt>
                <c:pt idx="3">
                  <c:v>4.5-4.6</c:v>
                </c:pt>
                <c:pt idx="4">
                  <c:v>4.4-4.0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5</c:v>
                </c:pt>
                <c:pt idx="3">
                  <c:v>7</c:v>
                </c:pt>
                <c:pt idx="4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918-4C17-9ECD-08DEC2B286E0}"/>
            </c:ext>
          </c:extLst>
        </c:ser>
        <c:dLbls>
          <c:dLblPos val="out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5.89351624015748E-2"/>
          <c:y val="0.11961336616551635"/>
          <c:w val="0.88463508858267714"/>
          <c:h val="0.76748672690165309"/>
        </c:manualLayout>
      </c:layout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ценка ОК</c:v>
                </c:pt>
              </c:strCache>
            </c:strRef>
          </c:tx>
          <c:spPr>
            <a:solidFill>
              <a:schemeClr val="accent5">
                <a:shade val="76000"/>
              </a:schemeClr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14</c:f>
              <c:strCache>
                <c:ptCount val="13"/>
                <c:pt idx="0">
                  <c:v>UZB-2023/732</c:v>
                </c:pt>
                <c:pt idx="1">
                  <c:v>UZB-2023/727</c:v>
                </c:pt>
                <c:pt idx="2">
                  <c:v>KAZ-2023/702</c:v>
                </c:pt>
                <c:pt idx="3">
                  <c:v>KAZ-2023/693</c:v>
                </c:pt>
                <c:pt idx="4">
                  <c:v>UZB-2023/678</c:v>
                </c:pt>
                <c:pt idx="5">
                  <c:v>UZB-2023/655</c:v>
                </c:pt>
                <c:pt idx="6">
                  <c:v>UZB-2023/616</c:v>
                </c:pt>
                <c:pt idx="7">
                  <c:v>UKR-2023/589</c:v>
                </c:pt>
                <c:pt idx="8">
                  <c:v>UZB-2023/588</c:v>
                </c:pt>
                <c:pt idx="9">
                  <c:v>BLR-2023/574</c:v>
                </c:pt>
                <c:pt idx="10">
                  <c:v>KAZ-2023/566</c:v>
                </c:pt>
                <c:pt idx="11">
                  <c:v>BLR-2023/556</c:v>
                </c:pt>
                <c:pt idx="12">
                  <c:v>KGZ-2023/553</c:v>
                </c:pt>
              </c:strCache>
            </c:strRef>
          </c:cat>
          <c:val>
            <c:numRef>
              <c:f>Лист1!$B$2:$B$14</c:f>
              <c:numCache>
                <c:formatCode>General</c:formatCode>
                <c:ptCount val="13"/>
                <c:pt idx="0">
                  <c:v>115</c:v>
                </c:pt>
                <c:pt idx="1">
                  <c:v>30</c:v>
                </c:pt>
                <c:pt idx="2">
                  <c:v>43</c:v>
                </c:pt>
                <c:pt idx="3">
                  <c:v>95</c:v>
                </c:pt>
                <c:pt idx="4">
                  <c:v>68</c:v>
                </c:pt>
                <c:pt idx="5">
                  <c:v>297</c:v>
                </c:pt>
                <c:pt idx="6">
                  <c:v>336</c:v>
                </c:pt>
                <c:pt idx="7">
                  <c:v>111</c:v>
                </c:pt>
                <c:pt idx="8">
                  <c:v>116</c:v>
                </c:pt>
                <c:pt idx="9">
                  <c:v>160</c:v>
                </c:pt>
                <c:pt idx="10">
                  <c:v>115</c:v>
                </c:pt>
                <c:pt idx="11">
                  <c:v>70</c:v>
                </c:pt>
                <c:pt idx="12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BC-41AF-9BA1-F506A4CDF9F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Оценка экспертов, μ
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14</c:f>
              <c:strCache>
                <c:ptCount val="13"/>
                <c:pt idx="0">
                  <c:v>UZB-2023/732</c:v>
                </c:pt>
                <c:pt idx="1">
                  <c:v>UZB-2023/727</c:v>
                </c:pt>
                <c:pt idx="2">
                  <c:v>KAZ-2023/702</c:v>
                </c:pt>
                <c:pt idx="3">
                  <c:v>KAZ-2023/693</c:v>
                </c:pt>
                <c:pt idx="4">
                  <c:v>UZB-2023/678</c:v>
                </c:pt>
                <c:pt idx="5">
                  <c:v>UZB-2023/655</c:v>
                </c:pt>
                <c:pt idx="6">
                  <c:v>UZB-2023/616</c:v>
                </c:pt>
                <c:pt idx="7">
                  <c:v>UKR-2023/589</c:v>
                </c:pt>
                <c:pt idx="8">
                  <c:v>UZB-2023/588</c:v>
                </c:pt>
                <c:pt idx="9">
                  <c:v>BLR-2023/574</c:v>
                </c:pt>
                <c:pt idx="10">
                  <c:v>KAZ-2023/566</c:v>
                </c:pt>
                <c:pt idx="11">
                  <c:v>BLR-2023/556</c:v>
                </c:pt>
                <c:pt idx="12">
                  <c:v>KGZ-2023/553</c:v>
                </c:pt>
              </c:strCache>
            </c:strRef>
          </c:cat>
          <c:val>
            <c:numRef>
              <c:f>Лист1!$C$2:$C$14</c:f>
              <c:numCache>
                <c:formatCode>General</c:formatCode>
                <c:ptCount val="13"/>
                <c:pt idx="0">
                  <c:v>97</c:v>
                </c:pt>
                <c:pt idx="1">
                  <c:v>27</c:v>
                </c:pt>
                <c:pt idx="2">
                  <c:v>43</c:v>
                </c:pt>
                <c:pt idx="3">
                  <c:v>95</c:v>
                </c:pt>
                <c:pt idx="4">
                  <c:v>70</c:v>
                </c:pt>
                <c:pt idx="5">
                  <c:v>305</c:v>
                </c:pt>
                <c:pt idx="6">
                  <c:v>307</c:v>
                </c:pt>
                <c:pt idx="7">
                  <c:v>111</c:v>
                </c:pt>
                <c:pt idx="8">
                  <c:v>109</c:v>
                </c:pt>
                <c:pt idx="9">
                  <c:v>157</c:v>
                </c:pt>
                <c:pt idx="10">
                  <c:v>114</c:v>
                </c:pt>
                <c:pt idx="11">
                  <c:v>79</c:v>
                </c:pt>
                <c:pt idx="12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BC-41AF-9BA1-F506A4CDF9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17260448"/>
        <c:axId val="317261008"/>
        <c:axId val="288851984"/>
      </c:bar3DChart>
      <c:catAx>
        <c:axId val="317260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7261008"/>
        <c:crosses val="autoZero"/>
        <c:auto val="1"/>
        <c:lblAlgn val="ctr"/>
        <c:lblOffset val="100"/>
        <c:noMultiLvlLbl val="0"/>
      </c:catAx>
      <c:valAx>
        <c:axId val="317261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7260448"/>
        <c:crosses val="autoZero"/>
        <c:crossBetween val="between"/>
      </c:valAx>
      <c:serAx>
        <c:axId val="288851984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7261008"/>
        <c:crosses val="autoZero"/>
      </c:ser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4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6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46663CE-A416-48AC-B5C0-191E0827AE15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8844E5D-0442-44A8-8475-FE2A85E6612E}">
      <dgm:prSet phldrT="[Текст]" phldr="1"/>
      <dgm:spPr/>
      <dgm:t>
        <a:bodyPr/>
        <a:lstStyle/>
        <a:p>
          <a:endParaRPr lang="ru-RU" dirty="0"/>
        </a:p>
      </dgm:t>
    </dgm:pt>
    <dgm:pt modelId="{816FB511-F88F-4002-874D-E702F17ECA50}" type="parTrans" cxnId="{AB5F3DC0-F878-4A49-BE41-D19B3C34D23A}">
      <dgm:prSet/>
      <dgm:spPr/>
      <dgm:t>
        <a:bodyPr/>
        <a:lstStyle/>
        <a:p>
          <a:endParaRPr lang="ru-RU"/>
        </a:p>
      </dgm:t>
    </dgm:pt>
    <dgm:pt modelId="{943314F8-9DAF-4851-97D8-979C0F3835A5}" type="sibTrans" cxnId="{AB5F3DC0-F878-4A49-BE41-D19B3C34D23A}">
      <dgm:prSet/>
      <dgm:spPr/>
      <dgm:t>
        <a:bodyPr/>
        <a:lstStyle/>
        <a:p>
          <a:endParaRPr lang="ru-RU"/>
        </a:p>
      </dgm:t>
    </dgm:pt>
    <dgm:pt modelId="{3CDA9B40-39A1-4D1C-A641-D62E1BA4D45A}">
      <dgm:prSet phldrT="[Текст]" custT="1"/>
      <dgm:spPr/>
      <dgm:t>
        <a:bodyPr/>
        <a:lstStyle/>
        <a:p>
          <a:r>
            <a:rPr lang="ru-RU" sz="700" dirty="0" smtClean="0"/>
            <a:t>1. </a:t>
          </a:r>
          <a:r>
            <a:rPr lang="ru-RU" sz="1100" dirty="0" smtClean="0"/>
            <a:t>Мелконян Тигран </a:t>
          </a:r>
          <a:r>
            <a:rPr lang="ru-RU" sz="1100" dirty="0" err="1" smtClean="0"/>
            <a:t>Шагенович</a:t>
          </a:r>
          <a:r>
            <a:rPr lang="ru-RU" sz="700" dirty="0" smtClean="0"/>
            <a:t>, начальник Департамента энергетики Министерства территориального управления и инфраструктур </a:t>
          </a:r>
          <a:r>
            <a:rPr lang="ru-RU" sz="700" b="1" dirty="0" smtClean="0"/>
            <a:t>Республики Армения </a:t>
          </a:r>
          <a:endParaRPr lang="ru-RU" sz="700" b="1" dirty="0"/>
        </a:p>
      </dgm:t>
    </dgm:pt>
    <dgm:pt modelId="{9F880609-F91B-4D52-B14C-B0E2EDCB14E7}" type="parTrans" cxnId="{92B0F136-65D6-417C-9477-8E0A8FAAD6F0}">
      <dgm:prSet/>
      <dgm:spPr/>
      <dgm:t>
        <a:bodyPr/>
        <a:lstStyle/>
        <a:p>
          <a:endParaRPr lang="ru-RU"/>
        </a:p>
      </dgm:t>
    </dgm:pt>
    <dgm:pt modelId="{C7B69D4E-B7BD-426C-8B25-FCAC7BB5D8F1}" type="sibTrans" cxnId="{92B0F136-65D6-417C-9477-8E0A8FAAD6F0}">
      <dgm:prSet/>
      <dgm:spPr/>
      <dgm:t>
        <a:bodyPr/>
        <a:lstStyle/>
        <a:p>
          <a:endParaRPr lang="ru-RU"/>
        </a:p>
      </dgm:t>
    </dgm:pt>
    <dgm:pt modelId="{C2650286-8059-4894-A4E2-3FD6EEB925F7}">
      <dgm:prSet custT="1"/>
      <dgm:spPr/>
      <dgm:t>
        <a:bodyPr/>
        <a:lstStyle/>
        <a:p>
          <a:r>
            <a:rPr lang="ru-RU" sz="700" dirty="0" smtClean="0"/>
            <a:t>2. </a:t>
          </a:r>
          <a:r>
            <a:rPr lang="ru-RU" sz="1100" dirty="0" err="1" smtClean="0"/>
            <a:t>Варданян</a:t>
          </a:r>
          <a:r>
            <a:rPr lang="ru-RU" sz="1100" dirty="0" smtClean="0"/>
            <a:t> Ашот </a:t>
          </a:r>
          <a:r>
            <a:rPr lang="ru-RU" sz="1100" dirty="0" err="1" smtClean="0"/>
            <a:t>Седракович</a:t>
          </a:r>
          <a:r>
            <a:rPr lang="ru-RU" sz="700" dirty="0" smtClean="0"/>
            <a:t>, начальник отдела лицензирования Комитета по регулированию ядерной безопасности и инфраструктур </a:t>
          </a:r>
          <a:r>
            <a:rPr lang="ru-RU" sz="700" b="1" dirty="0" smtClean="0"/>
            <a:t>Республики Армения</a:t>
          </a:r>
          <a:endParaRPr lang="ru-RU" sz="700" b="1" dirty="0"/>
        </a:p>
      </dgm:t>
    </dgm:pt>
    <dgm:pt modelId="{EB7B85C8-6675-485F-AA5A-2CAF96CA5EFD}" type="parTrans" cxnId="{793DB6AD-64E5-4B1C-BC97-56C727D817ED}">
      <dgm:prSet/>
      <dgm:spPr/>
      <dgm:t>
        <a:bodyPr/>
        <a:lstStyle/>
        <a:p>
          <a:endParaRPr lang="ru-RU"/>
        </a:p>
      </dgm:t>
    </dgm:pt>
    <dgm:pt modelId="{1A2C37CE-C788-4FAF-B927-105869F00990}" type="sibTrans" cxnId="{793DB6AD-64E5-4B1C-BC97-56C727D817ED}">
      <dgm:prSet/>
      <dgm:spPr/>
      <dgm:t>
        <a:bodyPr/>
        <a:lstStyle/>
        <a:p>
          <a:endParaRPr lang="ru-RU"/>
        </a:p>
      </dgm:t>
    </dgm:pt>
    <dgm:pt modelId="{EC09EAC6-3E95-4792-87CC-3B3499AB2049}">
      <dgm:prSet custT="1"/>
      <dgm:spPr/>
      <dgm:t>
        <a:bodyPr/>
        <a:lstStyle/>
        <a:p>
          <a:r>
            <a:rPr lang="ru-RU" sz="700" dirty="0" smtClean="0"/>
            <a:t>3. </a:t>
          </a:r>
          <a:r>
            <a:rPr lang="ru-RU" sz="1100" dirty="0" err="1" smtClean="0"/>
            <a:t>Зданевич</a:t>
          </a:r>
          <a:r>
            <a:rPr lang="ru-RU" sz="1100" dirty="0" smtClean="0"/>
            <a:t> Надежда Евгеньевна</a:t>
          </a:r>
          <a:r>
            <a:rPr lang="ru-RU" sz="700" dirty="0" smtClean="0"/>
            <a:t>, начальник управления технического сопровождения атомной электростанции ГПО «</a:t>
          </a:r>
          <a:r>
            <a:rPr lang="ru-RU" sz="700" dirty="0" err="1" smtClean="0"/>
            <a:t>Белэнерго</a:t>
          </a:r>
          <a:r>
            <a:rPr lang="ru-RU" sz="700" dirty="0" smtClean="0"/>
            <a:t>», </a:t>
          </a:r>
          <a:r>
            <a:rPr lang="ru-RU" sz="700" b="1" dirty="0" smtClean="0"/>
            <a:t>Республика Беларусь </a:t>
          </a:r>
          <a:endParaRPr lang="ru-RU" sz="700" b="1" dirty="0"/>
        </a:p>
      </dgm:t>
    </dgm:pt>
    <dgm:pt modelId="{7216218B-4BBC-4832-8DFD-947EE4CBEFE5}" type="parTrans" cxnId="{2E8AA53A-BADF-408B-9E7D-37042136084A}">
      <dgm:prSet/>
      <dgm:spPr/>
      <dgm:t>
        <a:bodyPr/>
        <a:lstStyle/>
        <a:p>
          <a:endParaRPr lang="ru-RU"/>
        </a:p>
      </dgm:t>
    </dgm:pt>
    <dgm:pt modelId="{06639C1E-8707-4054-AB95-A3B756A8193F}" type="sibTrans" cxnId="{2E8AA53A-BADF-408B-9E7D-37042136084A}">
      <dgm:prSet/>
      <dgm:spPr/>
      <dgm:t>
        <a:bodyPr/>
        <a:lstStyle/>
        <a:p>
          <a:endParaRPr lang="ru-RU"/>
        </a:p>
      </dgm:t>
    </dgm:pt>
    <dgm:pt modelId="{EE734B78-5291-4B26-BEC0-32C1A4818D98}">
      <dgm:prSet custT="1"/>
      <dgm:spPr/>
      <dgm:t>
        <a:bodyPr/>
        <a:lstStyle/>
        <a:p>
          <a:r>
            <a:rPr lang="ru-RU" sz="700" dirty="0" smtClean="0"/>
            <a:t>4. </a:t>
          </a:r>
          <a:r>
            <a:rPr lang="ru-RU" sz="1100" dirty="0" err="1" smtClean="0"/>
            <a:t>Мурсалова</a:t>
          </a:r>
          <a:r>
            <a:rPr lang="ru-RU" sz="1100" dirty="0" smtClean="0"/>
            <a:t> </a:t>
          </a:r>
          <a:r>
            <a:rPr lang="ru-RU" sz="1100" dirty="0" err="1" smtClean="0"/>
            <a:t>Гульмира</a:t>
          </a:r>
          <a:r>
            <a:rPr lang="ru-RU" sz="1100" dirty="0" smtClean="0"/>
            <a:t> </a:t>
          </a:r>
          <a:r>
            <a:rPr lang="ru-RU" sz="1100" dirty="0" err="1" smtClean="0"/>
            <a:t>Даутовна</a:t>
          </a:r>
          <a:r>
            <a:rPr lang="ru-RU" sz="700" dirty="0" smtClean="0"/>
            <a:t>, заместитель директора Департамента атомной энергетики и промышленности Министерства энергетики </a:t>
          </a:r>
          <a:r>
            <a:rPr lang="ru-RU" sz="700" b="1" dirty="0" smtClean="0"/>
            <a:t>Республика Казахстан </a:t>
          </a:r>
          <a:endParaRPr lang="ru-RU" sz="700" b="1" dirty="0"/>
        </a:p>
      </dgm:t>
    </dgm:pt>
    <dgm:pt modelId="{15F0D137-73A0-439B-843C-55BE5E0D4509}" type="parTrans" cxnId="{FD902EA0-1D36-4DB8-A7A3-CFCABDB01B7A}">
      <dgm:prSet/>
      <dgm:spPr/>
      <dgm:t>
        <a:bodyPr/>
        <a:lstStyle/>
        <a:p>
          <a:endParaRPr lang="ru-RU"/>
        </a:p>
      </dgm:t>
    </dgm:pt>
    <dgm:pt modelId="{E90E7432-0A95-4014-9981-8EECC07AEA48}" type="sibTrans" cxnId="{FD902EA0-1D36-4DB8-A7A3-CFCABDB01B7A}">
      <dgm:prSet/>
      <dgm:spPr/>
      <dgm:t>
        <a:bodyPr/>
        <a:lstStyle/>
        <a:p>
          <a:endParaRPr lang="ru-RU"/>
        </a:p>
      </dgm:t>
    </dgm:pt>
    <dgm:pt modelId="{4A5C8EBC-7209-4195-BA8C-CFEAA196AC54}">
      <dgm:prSet custT="1"/>
      <dgm:spPr/>
      <dgm:t>
        <a:bodyPr/>
        <a:lstStyle/>
        <a:p>
          <a:r>
            <a:rPr lang="ru-RU" sz="700" dirty="0" smtClean="0"/>
            <a:t>5. </a:t>
          </a:r>
          <a:r>
            <a:rPr lang="ru-RU" sz="1100" dirty="0" err="1" smtClean="0"/>
            <a:t>Кабиев</a:t>
          </a:r>
          <a:r>
            <a:rPr lang="ru-RU" sz="1100" dirty="0" smtClean="0"/>
            <a:t> Муса </a:t>
          </a:r>
          <a:r>
            <a:rPr lang="ru-RU" sz="1100" dirty="0" err="1" smtClean="0"/>
            <a:t>Булатулы</a:t>
          </a:r>
          <a:r>
            <a:rPr lang="ru-RU" sz="700" dirty="0" smtClean="0"/>
            <a:t>, руководитель управления контроля материалов и международных гарантий Комитета атомного и энергетического надзора и контроля Министерства энергетики </a:t>
          </a:r>
          <a:r>
            <a:rPr lang="ru-RU" sz="700" b="1" i="0" dirty="0" smtClean="0"/>
            <a:t>Республика Казахстан </a:t>
          </a:r>
          <a:endParaRPr lang="ru-RU" sz="700" b="1" i="0" dirty="0"/>
        </a:p>
      </dgm:t>
    </dgm:pt>
    <dgm:pt modelId="{B39C7DB9-E738-46CF-A529-CA741B74A7AD}" type="parTrans" cxnId="{ECA74095-55A6-403A-83BA-09002E1602F8}">
      <dgm:prSet/>
      <dgm:spPr/>
      <dgm:t>
        <a:bodyPr/>
        <a:lstStyle/>
        <a:p>
          <a:endParaRPr lang="ru-RU"/>
        </a:p>
      </dgm:t>
    </dgm:pt>
    <dgm:pt modelId="{A4EC556C-D1A9-4E2D-85B8-04119B868D3F}" type="sibTrans" cxnId="{ECA74095-55A6-403A-83BA-09002E1602F8}">
      <dgm:prSet/>
      <dgm:spPr/>
      <dgm:t>
        <a:bodyPr/>
        <a:lstStyle/>
        <a:p>
          <a:endParaRPr lang="ru-RU"/>
        </a:p>
      </dgm:t>
    </dgm:pt>
    <dgm:pt modelId="{2E1AD69E-D4C6-479E-8601-4F6CC2564E34}">
      <dgm:prSet custT="1"/>
      <dgm:spPr/>
      <dgm:t>
        <a:bodyPr/>
        <a:lstStyle/>
        <a:p>
          <a:r>
            <a:rPr lang="ru-RU" sz="700" dirty="0" smtClean="0"/>
            <a:t>6. </a:t>
          </a:r>
          <a:r>
            <a:rPr lang="ru-RU" sz="1100" dirty="0" err="1" smtClean="0"/>
            <a:t>Абдихамитова</a:t>
          </a:r>
          <a:r>
            <a:rPr lang="ru-RU" sz="1100" dirty="0" smtClean="0"/>
            <a:t> Динара </a:t>
          </a:r>
          <a:r>
            <a:rPr lang="ru-RU" sz="1100" dirty="0" err="1" smtClean="0"/>
            <a:t>Копшилбаевна</a:t>
          </a:r>
          <a:r>
            <a:rPr lang="ru-RU" sz="700" dirty="0" smtClean="0"/>
            <a:t>, главный эксперт отдела управления талантами Департамента HR </a:t>
          </a:r>
          <a:r>
            <a:rPr lang="ru-RU" sz="700" dirty="0" err="1" smtClean="0"/>
            <a:t>Казатомпром</a:t>
          </a:r>
          <a:r>
            <a:rPr lang="ru-RU" sz="700" dirty="0" smtClean="0"/>
            <a:t> </a:t>
          </a:r>
          <a:r>
            <a:rPr lang="ru-RU" sz="700" b="1" dirty="0" smtClean="0"/>
            <a:t>Республика Казахстан  </a:t>
          </a:r>
          <a:endParaRPr lang="ru-RU" sz="700" b="1" dirty="0"/>
        </a:p>
      </dgm:t>
    </dgm:pt>
    <dgm:pt modelId="{25B447F8-9FEC-467F-9582-F4407D71FD8B}" type="parTrans" cxnId="{7008A982-B1D8-4767-A394-A3A81EEF67F1}">
      <dgm:prSet/>
      <dgm:spPr/>
      <dgm:t>
        <a:bodyPr/>
        <a:lstStyle/>
        <a:p>
          <a:endParaRPr lang="ru-RU"/>
        </a:p>
      </dgm:t>
    </dgm:pt>
    <dgm:pt modelId="{7BA01AF2-F8B0-480B-A2ED-CFE21C8E34BA}" type="sibTrans" cxnId="{7008A982-B1D8-4767-A394-A3A81EEF67F1}">
      <dgm:prSet/>
      <dgm:spPr/>
      <dgm:t>
        <a:bodyPr/>
        <a:lstStyle/>
        <a:p>
          <a:endParaRPr lang="ru-RU"/>
        </a:p>
      </dgm:t>
    </dgm:pt>
    <dgm:pt modelId="{6B8CA359-7196-461D-830C-72BE88F8F5BC}">
      <dgm:prSet custT="1"/>
      <dgm:spPr/>
      <dgm:t>
        <a:bodyPr/>
        <a:lstStyle/>
        <a:p>
          <a:r>
            <a:rPr lang="ru-RU" sz="700" dirty="0" smtClean="0"/>
            <a:t>7. </a:t>
          </a:r>
          <a:r>
            <a:rPr lang="ru-RU" sz="1100" dirty="0" err="1" smtClean="0"/>
            <a:t>Асанкулов</a:t>
          </a:r>
          <a:r>
            <a:rPr lang="ru-RU" sz="1100" dirty="0" smtClean="0"/>
            <a:t> </a:t>
          </a:r>
          <a:r>
            <a:rPr lang="ru-RU" sz="1100" dirty="0" err="1" smtClean="0"/>
            <a:t>Бакытбек</a:t>
          </a:r>
          <a:r>
            <a:rPr lang="ru-RU" sz="1100" dirty="0" smtClean="0"/>
            <a:t> </a:t>
          </a:r>
          <a:r>
            <a:rPr lang="ru-RU" sz="1100" dirty="0" err="1" smtClean="0"/>
            <a:t>Асанкулович</a:t>
          </a:r>
          <a:r>
            <a:rPr lang="ru-RU" sz="1100" dirty="0" smtClean="0"/>
            <a:t> </a:t>
          </a:r>
          <a:r>
            <a:rPr lang="ru-RU" sz="700" dirty="0" smtClean="0"/>
            <a:t>– начальник отдела радиационной безопасности и контроля ДОСХ при МЧС </a:t>
          </a:r>
          <a:r>
            <a:rPr lang="ru-RU" sz="700" b="1" dirty="0" err="1" smtClean="0"/>
            <a:t>Кыргызской</a:t>
          </a:r>
          <a:r>
            <a:rPr lang="ru-RU" sz="700" b="1" dirty="0" smtClean="0"/>
            <a:t> Республики </a:t>
          </a:r>
          <a:endParaRPr lang="ru-RU" sz="700" b="1" dirty="0"/>
        </a:p>
      </dgm:t>
    </dgm:pt>
    <dgm:pt modelId="{B2E0BC00-2BB7-48EC-B9A8-8B488D606081}" type="parTrans" cxnId="{CD423932-9BEC-4E30-B378-B32DB258FEFC}">
      <dgm:prSet/>
      <dgm:spPr/>
      <dgm:t>
        <a:bodyPr/>
        <a:lstStyle/>
        <a:p>
          <a:endParaRPr lang="ru-RU"/>
        </a:p>
      </dgm:t>
    </dgm:pt>
    <dgm:pt modelId="{46C3482B-A345-4319-8E56-807383C677E2}" type="sibTrans" cxnId="{CD423932-9BEC-4E30-B378-B32DB258FEFC}">
      <dgm:prSet/>
      <dgm:spPr/>
      <dgm:t>
        <a:bodyPr/>
        <a:lstStyle/>
        <a:p>
          <a:endParaRPr lang="ru-RU"/>
        </a:p>
      </dgm:t>
    </dgm:pt>
    <dgm:pt modelId="{F1B9B166-2A32-43EA-82F5-8E840E092F4A}">
      <dgm:prSet custT="1"/>
      <dgm:spPr/>
      <dgm:t>
        <a:bodyPr/>
        <a:lstStyle/>
        <a:p>
          <a:r>
            <a:rPr lang="ru-RU" sz="700" dirty="0" smtClean="0"/>
            <a:t>8. </a:t>
          </a:r>
          <a:r>
            <a:rPr lang="ru-RU" sz="1100" dirty="0" err="1" smtClean="0"/>
            <a:t>Мурзабекова</a:t>
          </a:r>
          <a:r>
            <a:rPr lang="ru-RU" sz="1100" dirty="0" smtClean="0"/>
            <a:t> Алтынай </a:t>
          </a:r>
          <a:r>
            <a:rPr lang="ru-RU" sz="1100" dirty="0" err="1" smtClean="0"/>
            <a:t>Абдыбаитовна</a:t>
          </a:r>
          <a:r>
            <a:rPr lang="ru-RU" sz="1100" dirty="0" smtClean="0"/>
            <a:t> </a:t>
          </a:r>
          <a:r>
            <a:rPr lang="ru-RU" sz="700" dirty="0" smtClean="0"/>
            <a:t>– главный специалист отдела реализации проектов ДОСХ при МЧС </a:t>
          </a:r>
          <a:r>
            <a:rPr lang="ru-RU" sz="700" b="1" dirty="0" err="1" smtClean="0"/>
            <a:t>Кыргызской</a:t>
          </a:r>
          <a:r>
            <a:rPr lang="ru-RU" sz="700" b="1" dirty="0" smtClean="0"/>
            <a:t> Республики</a:t>
          </a:r>
          <a:endParaRPr lang="ru-RU" sz="700" b="1" dirty="0"/>
        </a:p>
      </dgm:t>
    </dgm:pt>
    <dgm:pt modelId="{65D0A101-FDEA-449B-BA4F-745493E16838}" type="parTrans" cxnId="{319017B8-6CB3-463E-8F60-75788E35892F}">
      <dgm:prSet/>
      <dgm:spPr/>
      <dgm:t>
        <a:bodyPr/>
        <a:lstStyle/>
        <a:p>
          <a:endParaRPr lang="ru-RU"/>
        </a:p>
      </dgm:t>
    </dgm:pt>
    <dgm:pt modelId="{7B77299B-FDF4-4739-95AA-927120F3227C}" type="sibTrans" cxnId="{319017B8-6CB3-463E-8F60-75788E35892F}">
      <dgm:prSet/>
      <dgm:spPr/>
      <dgm:t>
        <a:bodyPr/>
        <a:lstStyle/>
        <a:p>
          <a:endParaRPr lang="ru-RU"/>
        </a:p>
      </dgm:t>
    </dgm:pt>
    <dgm:pt modelId="{6493374D-456F-4772-B7C6-2723999DE945}">
      <dgm:prSet custT="1"/>
      <dgm:spPr/>
      <dgm:t>
        <a:bodyPr/>
        <a:lstStyle/>
        <a:p>
          <a:r>
            <a:rPr lang="ru-RU" sz="700" dirty="0" smtClean="0"/>
            <a:t>9. </a:t>
          </a:r>
          <a:r>
            <a:rPr lang="ru-RU" sz="1100" dirty="0" err="1" smtClean="0"/>
            <a:t>Халиков</a:t>
          </a:r>
          <a:r>
            <a:rPr lang="ru-RU" sz="1100" dirty="0" smtClean="0"/>
            <a:t> Улугбек </a:t>
          </a:r>
          <a:r>
            <a:rPr lang="ru-RU" sz="1100" dirty="0" err="1" smtClean="0"/>
            <a:t>Аскарович</a:t>
          </a:r>
          <a:r>
            <a:rPr lang="ru-RU" sz="700" dirty="0" smtClean="0"/>
            <a:t>, Государственный комитет по промышленной безопасности </a:t>
          </a:r>
          <a:r>
            <a:rPr lang="ru-RU" sz="700" b="1" dirty="0" smtClean="0"/>
            <a:t>Республики Узбекистан </a:t>
          </a:r>
          <a:endParaRPr lang="ru-RU" sz="700" b="1" dirty="0"/>
        </a:p>
      </dgm:t>
    </dgm:pt>
    <dgm:pt modelId="{B36884B6-A5FC-46ED-8DCE-A4CA793FAD4F}" type="parTrans" cxnId="{BF9B2D9D-377A-4289-B2E0-2BC397464DD5}">
      <dgm:prSet/>
      <dgm:spPr/>
      <dgm:t>
        <a:bodyPr/>
        <a:lstStyle/>
        <a:p>
          <a:endParaRPr lang="ru-RU"/>
        </a:p>
      </dgm:t>
    </dgm:pt>
    <dgm:pt modelId="{E2D96D0A-8F88-4072-B327-DB91ECC0C823}" type="sibTrans" cxnId="{BF9B2D9D-377A-4289-B2E0-2BC397464DD5}">
      <dgm:prSet/>
      <dgm:spPr/>
      <dgm:t>
        <a:bodyPr/>
        <a:lstStyle/>
        <a:p>
          <a:endParaRPr lang="ru-RU"/>
        </a:p>
      </dgm:t>
    </dgm:pt>
    <dgm:pt modelId="{79EFA583-82F3-4E73-A745-10BD698728B8}">
      <dgm:prSet custT="1"/>
      <dgm:spPr/>
      <dgm:t>
        <a:bodyPr/>
        <a:lstStyle/>
        <a:p>
          <a:r>
            <a:rPr lang="ru-RU" sz="700" dirty="0" smtClean="0"/>
            <a:t>10. </a:t>
          </a:r>
          <a:r>
            <a:rPr lang="ru-RU" sz="1100" dirty="0" smtClean="0"/>
            <a:t>Беляков Андрей Александрович</a:t>
          </a:r>
          <a:r>
            <a:rPr lang="ru-RU" sz="700" dirty="0" smtClean="0"/>
            <a:t>, директор Департамента международного сотрудничества </a:t>
          </a:r>
          <a:r>
            <a:rPr lang="ru-RU" sz="700" dirty="0" err="1" smtClean="0"/>
            <a:t>Госкорпорации</a:t>
          </a:r>
          <a:r>
            <a:rPr lang="ru-RU" sz="700" dirty="0" smtClean="0"/>
            <a:t> «</a:t>
          </a:r>
          <a:r>
            <a:rPr lang="ru-RU" sz="700" dirty="0" err="1" smtClean="0"/>
            <a:t>Росатом</a:t>
          </a:r>
          <a:r>
            <a:rPr lang="ru-RU" sz="700" dirty="0" smtClean="0"/>
            <a:t>» </a:t>
          </a:r>
          <a:endParaRPr lang="ru-RU" sz="700" dirty="0"/>
        </a:p>
      </dgm:t>
    </dgm:pt>
    <dgm:pt modelId="{501EE9D2-D1F3-4E28-86DA-25A555FB8E3A}" type="parTrans" cxnId="{55235E0F-9D80-417B-A0B6-6B961DB12058}">
      <dgm:prSet/>
      <dgm:spPr/>
      <dgm:t>
        <a:bodyPr/>
        <a:lstStyle/>
        <a:p>
          <a:endParaRPr lang="ru-RU"/>
        </a:p>
      </dgm:t>
    </dgm:pt>
    <dgm:pt modelId="{409BED50-7352-43E4-8AEF-927B68D7A9EA}" type="sibTrans" cxnId="{55235E0F-9D80-417B-A0B6-6B961DB12058}">
      <dgm:prSet/>
      <dgm:spPr/>
      <dgm:t>
        <a:bodyPr/>
        <a:lstStyle/>
        <a:p>
          <a:endParaRPr lang="ru-RU"/>
        </a:p>
      </dgm:t>
    </dgm:pt>
    <dgm:pt modelId="{CEB2AFE7-E0E2-4A22-AF09-7B71EEDEF8A4}">
      <dgm:prSet custT="1"/>
      <dgm:spPr/>
      <dgm:t>
        <a:bodyPr/>
        <a:lstStyle/>
        <a:p>
          <a:r>
            <a:rPr lang="ru-RU" sz="700" dirty="0" smtClean="0"/>
            <a:t>11. </a:t>
          </a:r>
          <a:r>
            <a:rPr lang="ru-RU" sz="1100" dirty="0" smtClean="0"/>
            <a:t>Зацепа Елизавета Игоревна</a:t>
          </a:r>
          <a:r>
            <a:rPr lang="ru-RU" sz="700" dirty="0" smtClean="0"/>
            <a:t>, руководитель направления Департамента коммуникационных проектов,  Частное учреждение «</a:t>
          </a:r>
          <a:r>
            <a:rPr lang="ru-RU" sz="700" dirty="0" err="1" smtClean="0"/>
            <a:t>Русатом</a:t>
          </a:r>
          <a:r>
            <a:rPr lang="ru-RU" sz="700" dirty="0" smtClean="0"/>
            <a:t> Международная Сеть» </a:t>
          </a:r>
          <a:endParaRPr lang="ru-RU" sz="700" dirty="0"/>
        </a:p>
      </dgm:t>
    </dgm:pt>
    <dgm:pt modelId="{04768850-11C2-460F-BBD5-665159E8B41A}" type="parTrans" cxnId="{F6E5D87D-4879-42B8-A365-FC59348AAE6F}">
      <dgm:prSet/>
      <dgm:spPr/>
      <dgm:t>
        <a:bodyPr/>
        <a:lstStyle/>
        <a:p>
          <a:endParaRPr lang="ru-RU"/>
        </a:p>
      </dgm:t>
    </dgm:pt>
    <dgm:pt modelId="{3A4D645E-8233-4D49-99CF-08A8A1DEF5C8}" type="sibTrans" cxnId="{F6E5D87D-4879-42B8-A365-FC59348AAE6F}">
      <dgm:prSet/>
      <dgm:spPr/>
      <dgm:t>
        <a:bodyPr/>
        <a:lstStyle/>
        <a:p>
          <a:endParaRPr lang="ru-RU"/>
        </a:p>
      </dgm:t>
    </dgm:pt>
    <dgm:pt modelId="{09DB8015-E5D0-4733-8C17-BBCE94292592}">
      <dgm:prSet custT="1"/>
      <dgm:spPr/>
      <dgm:t>
        <a:bodyPr/>
        <a:lstStyle/>
        <a:p>
          <a:r>
            <a:rPr lang="ru-RU" sz="700" dirty="0" smtClean="0"/>
            <a:t>12. </a:t>
          </a:r>
          <a:r>
            <a:rPr lang="ru-RU" sz="1100" dirty="0" smtClean="0"/>
            <a:t>Самохин Дмитрий Сергеевич</a:t>
          </a:r>
          <a:r>
            <a:rPr lang="ru-RU" sz="700" dirty="0" smtClean="0"/>
            <a:t>, начальник отделения ядерной физики и технологий ИАТЭ НИЯУ МИФИ</a:t>
          </a:r>
          <a:endParaRPr lang="ru-RU" sz="700" dirty="0"/>
        </a:p>
      </dgm:t>
    </dgm:pt>
    <dgm:pt modelId="{EDC90424-47D8-49E7-B5E6-C1766D009EAD}" type="parTrans" cxnId="{BD6E85B7-7643-432C-8713-700D3883A4B4}">
      <dgm:prSet/>
      <dgm:spPr/>
      <dgm:t>
        <a:bodyPr/>
        <a:lstStyle/>
        <a:p>
          <a:endParaRPr lang="ru-RU"/>
        </a:p>
      </dgm:t>
    </dgm:pt>
    <dgm:pt modelId="{93768539-2F17-4C95-BA3F-660E215AE0DF}" type="sibTrans" cxnId="{BD6E85B7-7643-432C-8713-700D3883A4B4}">
      <dgm:prSet/>
      <dgm:spPr/>
      <dgm:t>
        <a:bodyPr/>
        <a:lstStyle/>
        <a:p>
          <a:endParaRPr lang="ru-RU"/>
        </a:p>
      </dgm:t>
    </dgm:pt>
    <dgm:pt modelId="{13902789-624F-46E2-9023-65C3D87D7222}">
      <dgm:prSet custT="1"/>
      <dgm:spPr/>
      <dgm:t>
        <a:bodyPr/>
        <a:lstStyle/>
        <a:p>
          <a:r>
            <a:rPr lang="ru-RU" sz="700" dirty="0" smtClean="0"/>
            <a:t>13. </a:t>
          </a:r>
          <a:r>
            <a:rPr lang="ru-RU" sz="1100" dirty="0" smtClean="0"/>
            <a:t>Верхотурова Вера Викторовна</a:t>
          </a:r>
          <a:r>
            <a:rPr lang="ru-RU" sz="700" dirty="0" smtClean="0"/>
            <a:t>, и. о</a:t>
          </a:r>
          <a:r>
            <a:rPr lang="ru-RU" sz="700" smtClean="0"/>
            <a:t>. заведующего </a:t>
          </a:r>
          <a:r>
            <a:rPr lang="ru-RU" sz="700" dirty="0" smtClean="0"/>
            <a:t>кафедрой – руководитель Научно-образовательного центра международного ядерного образования и карьерного сопровождения иностранных студентов, Инженерная школа ядерных технологий, Томский политехнический университет</a:t>
          </a:r>
          <a:endParaRPr lang="ru-RU" sz="700" dirty="0"/>
        </a:p>
      </dgm:t>
    </dgm:pt>
    <dgm:pt modelId="{6DA6AD14-7891-4447-BB2F-B31D5802BFAF}" type="parTrans" cxnId="{7CB02081-8912-4015-AF6B-3A50A1451D7B}">
      <dgm:prSet/>
      <dgm:spPr/>
      <dgm:t>
        <a:bodyPr/>
        <a:lstStyle/>
        <a:p>
          <a:endParaRPr lang="ru-RU"/>
        </a:p>
      </dgm:t>
    </dgm:pt>
    <dgm:pt modelId="{BE7A26A8-0361-4E16-98EF-72137D82C7F6}" type="sibTrans" cxnId="{7CB02081-8912-4015-AF6B-3A50A1451D7B}">
      <dgm:prSet/>
      <dgm:spPr/>
      <dgm:t>
        <a:bodyPr/>
        <a:lstStyle/>
        <a:p>
          <a:endParaRPr lang="ru-RU"/>
        </a:p>
      </dgm:t>
    </dgm:pt>
    <dgm:pt modelId="{662B4A39-B2EC-422E-BA3D-881994F993D2}">
      <dgm:prSet custT="1"/>
      <dgm:spPr/>
      <dgm:t>
        <a:bodyPr/>
        <a:lstStyle/>
        <a:p>
          <a:r>
            <a:rPr lang="ru-RU" sz="800" dirty="0" smtClean="0"/>
            <a:t>14. </a:t>
          </a:r>
          <a:r>
            <a:rPr lang="ru-RU" sz="1100" dirty="0" err="1" smtClean="0"/>
            <a:t>Древнов</a:t>
          </a:r>
          <a:r>
            <a:rPr lang="ru-RU" sz="1100" dirty="0" smtClean="0"/>
            <a:t> Олег Васильевич</a:t>
          </a:r>
          <a:r>
            <a:rPr lang="ru-RU" sz="800" dirty="0" smtClean="0"/>
            <a:t>, лидер экспертизы по компетенции «Радиационный контроль» чемпионата </a:t>
          </a:r>
          <a:r>
            <a:rPr lang="ru-RU" sz="800" dirty="0" err="1" smtClean="0"/>
            <a:t>AtomSkills</a:t>
          </a:r>
          <a:r>
            <a:rPr lang="ru-RU" sz="800" dirty="0" smtClean="0"/>
            <a:t>, инженер по радиационной безопасности 1 кат., ФГУП «ПО МАЯК»</a:t>
          </a:r>
          <a:endParaRPr lang="ru-RU" sz="800" dirty="0"/>
        </a:p>
      </dgm:t>
    </dgm:pt>
    <dgm:pt modelId="{C5C58955-C118-4CD0-A3CE-78045694D8D0}" type="parTrans" cxnId="{281B8D1F-08D1-4F67-840E-5C741155C7EE}">
      <dgm:prSet/>
      <dgm:spPr/>
      <dgm:t>
        <a:bodyPr/>
        <a:lstStyle/>
        <a:p>
          <a:endParaRPr lang="ru-RU"/>
        </a:p>
      </dgm:t>
    </dgm:pt>
    <dgm:pt modelId="{CF980072-9AA2-44F4-8E6B-1367B102BDD3}" type="sibTrans" cxnId="{281B8D1F-08D1-4F67-840E-5C741155C7EE}">
      <dgm:prSet/>
      <dgm:spPr/>
      <dgm:t>
        <a:bodyPr/>
        <a:lstStyle/>
        <a:p>
          <a:endParaRPr lang="ru-RU"/>
        </a:p>
      </dgm:t>
    </dgm:pt>
    <dgm:pt modelId="{EEF72F8A-D582-49F5-BD7B-EE22A76BDDD8}">
      <dgm:prSet custT="1"/>
      <dgm:spPr/>
      <dgm:t>
        <a:bodyPr/>
        <a:lstStyle/>
        <a:p>
          <a:r>
            <a:rPr lang="ru-RU" sz="800" dirty="0" smtClean="0"/>
            <a:t>15. </a:t>
          </a:r>
          <a:r>
            <a:rPr lang="ru-RU" sz="1100" dirty="0" smtClean="0"/>
            <a:t>Агафонов Денис Николаевич</a:t>
          </a:r>
          <a:r>
            <a:rPr lang="ru-RU" sz="800" dirty="0" smtClean="0"/>
            <a:t>, эксперт Центра "Новая атомная энергетика", Московский филиал АНО ДПО «Техническая академия </a:t>
          </a:r>
          <a:r>
            <a:rPr lang="ru-RU" sz="800" dirty="0" err="1" smtClean="0"/>
            <a:t>Росатома</a:t>
          </a:r>
          <a:r>
            <a:rPr lang="ru-RU" sz="800" dirty="0" smtClean="0"/>
            <a:t>»</a:t>
          </a:r>
          <a:endParaRPr lang="ru-RU" sz="800" dirty="0"/>
        </a:p>
      </dgm:t>
    </dgm:pt>
    <dgm:pt modelId="{639903E1-1069-4560-BE19-90839A77AE4D}" type="parTrans" cxnId="{79B3039D-CE5F-4796-89FA-A1CA1889570F}">
      <dgm:prSet/>
      <dgm:spPr/>
      <dgm:t>
        <a:bodyPr/>
        <a:lstStyle/>
        <a:p>
          <a:endParaRPr lang="ru-RU"/>
        </a:p>
      </dgm:t>
    </dgm:pt>
    <dgm:pt modelId="{AD9A2121-0839-41BC-BC04-EF589526FAB0}" type="sibTrans" cxnId="{79B3039D-CE5F-4796-89FA-A1CA1889570F}">
      <dgm:prSet/>
      <dgm:spPr/>
      <dgm:t>
        <a:bodyPr/>
        <a:lstStyle/>
        <a:p>
          <a:endParaRPr lang="ru-RU"/>
        </a:p>
      </dgm:t>
    </dgm:pt>
    <dgm:pt modelId="{C137D78C-8244-44E8-9566-A8DC06B493A2}">
      <dgm:prSet custT="1"/>
      <dgm:spPr/>
      <dgm:t>
        <a:bodyPr/>
        <a:lstStyle/>
        <a:p>
          <a:r>
            <a:rPr lang="ru-RU" sz="800" dirty="0" smtClean="0"/>
            <a:t>16. </a:t>
          </a:r>
          <a:r>
            <a:rPr lang="ru-RU" sz="1100" dirty="0" smtClean="0"/>
            <a:t>Антонов Александр Владимирович</a:t>
          </a:r>
          <a:r>
            <a:rPr lang="ru-RU" sz="800" dirty="0" smtClean="0"/>
            <a:t>, главный эксперт Международного центра подготовки персонала АС, д.т.н., профессор, АНО ДПО «Техническая Академия </a:t>
          </a:r>
          <a:r>
            <a:rPr lang="ru-RU" sz="800" dirty="0" err="1" smtClean="0"/>
            <a:t>Росатома</a:t>
          </a:r>
          <a:r>
            <a:rPr lang="ru-RU" sz="800" dirty="0" smtClean="0"/>
            <a:t>»</a:t>
          </a:r>
          <a:endParaRPr lang="ru-RU" sz="800" dirty="0"/>
        </a:p>
      </dgm:t>
    </dgm:pt>
    <dgm:pt modelId="{539656BB-70EF-47CE-832E-5200871DF5CE}" type="parTrans" cxnId="{517234B2-FC0E-46BA-BAA1-0FB220203358}">
      <dgm:prSet/>
      <dgm:spPr/>
      <dgm:t>
        <a:bodyPr/>
        <a:lstStyle/>
        <a:p>
          <a:endParaRPr lang="ru-RU"/>
        </a:p>
      </dgm:t>
    </dgm:pt>
    <dgm:pt modelId="{9B37B8C2-305C-4747-A390-0A9318C42875}" type="sibTrans" cxnId="{517234B2-FC0E-46BA-BAA1-0FB220203358}">
      <dgm:prSet/>
      <dgm:spPr/>
      <dgm:t>
        <a:bodyPr/>
        <a:lstStyle/>
        <a:p>
          <a:endParaRPr lang="ru-RU"/>
        </a:p>
      </dgm:t>
    </dgm:pt>
    <dgm:pt modelId="{6CBBEA8D-75C9-4322-ADDF-73A2BBF82650}">
      <dgm:prSet custT="1"/>
      <dgm:spPr/>
      <dgm:t>
        <a:bodyPr/>
        <a:lstStyle/>
        <a:p>
          <a:r>
            <a:rPr lang="ru-RU" sz="800" dirty="0" smtClean="0"/>
            <a:t>17. </a:t>
          </a:r>
          <a:r>
            <a:rPr lang="ru-RU" sz="1100" dirty="0" smtClean="0"/>
            <a:t>Алёшина Алёна Сергеевна</a:t>
          </a:r>
          <a:r>
            <a:rPr lang="ru-RU" sz="800" dirty="0" smtClean="0"/>
            <a:t>, директор Высшей школы энергетического машиностроения Института энергетики Санкт-Петербургского политехнического университета Петра Великого</a:t>
          </a:r>
          <a:endParaRPr lang="ru-RU" sz="800" dirty="0"/>
        </a:p>
      </dgm:t>
    </dgm:pt>
    <dgm:pt modelId="{951F2F53-3154-4C4A-8AEA-65FF107E1809}" type="parTrans" cxnId="{6AC1EC58-1AEB-4554-81C3-E506704423D4}">
      <dgm:prSet/>
      <dgm:spPr/>
      <dgm:t>
        <a:bodyPr/>
        <a:lstStyle/>
        <a:p>
          <a:endParaRPr lang="ru-RU"/>
        </a:p>
      </dgm:t>
    </dgm:pt>
    <dgm:pt modelId="{93882A94-0860-4371-B13D-988AE652A4F4}" type="sibTrans" cxnId="{6AC1EC58-1AEB-4554-81C3-E506704423D4}">
      <dgm:prSet/>
      <dgm:spPr/>
      <dgm:t>
        <a:bodyPr/>
        <a:lstStyle/>
        <a:p>
          <a:endParaRPr lang="ru-RU"/>
        </a:p>
      </dgm:t>
    </dgm:pt>
    <dgm:pt modelId="{639C9474-8DA6-44F1-B612-B0BA6D25DAC1}" type="pres">
      <dgm:prSet presAssocID="{146663CE-A416-48AC-B5C0-191E0827AE15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7D3C39C6-1448-4880-89FA-CE0493EE8D6D}" type="pres">
      <dgm:prSet presAssocID="{78844E5D-0442-44A8-8475-FE2A85E6612E}" presName="thickLine" presStyleLbl="alignNode1" presStyleIdx="0" presStyleCnt="1"/>
      <dgm:spPr/>
    </dgm:pt>
    <dgm:pt modelId="{FD9A336C-DB5A-4EBC-8E53-CB6D49A08F2F}" type="pres">
      <dgm:prSet presAssocID="{78844E5D-0442-44A8-8475-FE2A85E6612E}" presName="horz1" presStyleCnt="0"/>
      <dgm:spPr/>
    </dgm:pt>
    <dgm:pt modelId="{97665F14-F129-4B77-81E3-74A51A8D293F}" type="pres">
      <dgm:prSet presAssocID="{78844E5D-0442-44A8-8475-FE2A85E6612E}" presName="tx1" presStyleLbl="revTx" presStyleIdx="0" presStyleCnt="18"/>
      <dgm:spPr/>
      <dgm:t>
        <a:bodyPr/>
        <a:lstStyle/>
        <a:p>
          <a:endParaRPr lang="ru-RU"/>
        </a:p>
      </dgm:t>
    </dgm:pt>
    <dgm:pt modelId="{15B3E42D-2095-4B3D-88C8-F3C799BFB262}" type="pres">
      <dgm:prSet presAssocID="{78844E5D-0442-44A8-8475-FE2A85E6612E}" presName="vert1" presStyleCnt="0"/>
      <dgm:spPr/>
    </dgm:pt>
    <dgm:pt modelId="{CE6F5D69-C71E-4229-A795-C324E4612BCB}" type="pres">
      <dgm:prSet presAssocID="{3CDA9B40-39A1-4D1C-A641-D62E1BA4D45A}" presName="vertSpace2a" presStyleCnt="0"/>
      <dgm:spPr/>
    </dgm:pt>
    <dgm:pt modelId="{4DD1B670-7BE8-4DE3-B1DE-19CCAE30920F}" type="pres">
      <dgm:prSet presAssocID="{3CDA9B40-39A1-4D1C-A641-D62E1BA4D45A}" presName="horz2" presStyleCnt="0"/>
      <dgm:spPr/>
    </dgm:pt>
    <dgm:pt modelId="{A7CD1193-DD1C-4261-917B-BD4B6146CBAE}" type="pres">
      <dgm:prSet presAssocID="{3CDA9B40-39A1-4D1C-A641-D62E1BA4D45A}" presName="horzSpace2" presStyleCnt="0"/>
      <dgm:spPr/>
    </dgm:pt>
    <dgm:pt modelId="{23109F76-BCD8-421B-B83B-CEE82C12B840}" type="pres">
      <dgm:prSet presAssocID="{3CDA9B40-39A1-4D1C-A641-D62E1BA4D45A}" presName="tx2" presStyleLbl="revTx" presStyleIdx="1" presStyleCnt="18"/>
      <dgm:spPr/>
      <dgm:t>
        <a:bodyPr/>
        <a:lstStyle/>
        <a:p>
          <a:endParaRPr lang="ru-RU"/>
        </a:p>
      </dgm:t>
    </dgm:pt>
    <dgm:pt modelId="{EC7618D8-0D11-4061-9504-ACC6E85C32E4}" type="pres">
      <dgm:prSet presAssocID="{3CDA9B40-39A1-4D1C-A641-D62E1BA4D45A}" presName="vert2" presStyleCnt="0"/>
      <dgm:spPr/>
    </dgm:pt>
    <dgm:pt modelId="{29DFA1C2-3596-4790-843A-BA4810720F90}" type="pres">
      <dgm:prSet presAssocID="{3CDA9B40-39A1-4D1C-A641-D62E1BA4D45A}" presName="thinLine2b" presStyleLbl="callout" presStyleIdx="0" presStyleCnt="17"/>
      <dgm:spPr/>
    </dgm:pt>
    <dgm:pt modelId="{68AED7AA-87B0-4F7B-928C-C29A0E6381A6}" type="pres">
      <dgm:prSet presAssocID="{3CDA9B40-39A1-4D1C-A641-D62E1BA4D45A}" presName="vertSpace2b" presStyleCnt="0"/>
      <dgm:spPr/>
    </dgm:pt>
    <dgm:pt modelId="{3239FBE9-9923-43E1-8A1D-8761AF0D7B4E}" type="pres">
      <dgm:prSet presAssocID="{C2650286-8059-4894-A4E2-3FD6EEB925F7}" presName="horz2" presStyleCnt="0"/>
      <dgm:spPr/>
    </dgm:pt>
    <dgm:pt modelId="{C9566422-B2B7-4256-99F1-1A1106B9FAEF}" type="pres">
      <dgm:prSet presAssocID="{C2650286-8059-4894-A4E2-3FD6EEB925F7}" presName="horzSpace2" presStyleCnt="0"/>
      <dgm:spPr/>
    </dgm:pt>
    <dgm:pt modelId="{C792E326-6D7C-4B68-BCD1-FD1F4F3438D9}" type="pres">
      <dgm:prSet presAssocID="{C2650286-8059-4894-A4E2-3FD6EEB925F7}" presName="tx2" presStyleLbl="revTx" presStyleIdx="2" presStyleCnt="18"/>
      <dgm:spPr/>
      <dgm:t>
        <a:bodyPr/>
        <a:lstStyle/>
        <a:p>
          <a:endParaRPr lang="ru-RU"/>
        </a:p>
      </dgm:t>
    </dgm:pt>
    <dgm:pt modelId="{66CB8BE5-BFB5-4541-AE03-E20A9BEBD9D4}" type="pres">
      <dgm:prSet presAssocID="{C2650286-8059-4894-A4E2-3FD6EEB925F7}" presName="vert2" presStyleCnt="0"/>
      <dgm:spPr/>
    </dgm:pt>
    <dgm:pt modelId="{31796297-F740-417A-9B03-A031BD06ABF0}" type="pres">
      <dgm:prSet presAssocID="{C2650286-8059-4894-A4E2-3FD6EEB925F7}" presName="thinLine2b" presStyleLbl="callout" presStyleIdx="1" presStyleCnt="17"/>
      <dgm:spPr/>
    </dgm:pt>
    <dgm:pt modelId="{63381074-1C26-41A4-BCAF-9A9EAE106713}" type="pres">
      <dgm:prSet presAssocID="{C2650286-8059-4894-A4E2-3FD6EEB925F7}" presName="vertSpace2b" presStyleCnt="0"/>
      <dgm:spPr/>
    </dgm:pt>
    <dgm:pt modelId="{A2DC8EA2-DD2D-4C5B-90B8-EFBE2EEBD4ED}" type="pres">
      <dgm:prSet presAssocID="{EC09EAC6-3E95-4792-87CC-3B3499AB2049}" presName="horz2" presStyleCnt="0"/>
      <dgm:spPr/>
    </dgm:pt>
    <dgm:pt modelId="{77E2A592-7455-46EE-9FFE-B0740BBC15C9}" type="pres">
      <dgm:prSet presAssocID="{EC09EAC6-3E95-4792-87CC-3B3499AB2049}" presName="horzSpace2" presStyleCnt="0"/>
      <dgm:spPr/>
    </dgm:pt>
    <dgm:pt modelId="{C4D10D26-AE64-48F0-ACD2-84E8575896BB}" type="pres">
      <dgm:prSet presAssocID="{EC09EAC6-3E95-4792-87CC-3B3499AB2049}" presName="tx2" presStyleLbl="revTx" presStyleIdx="3" presStyleCnt="18"/>
      <dgm:spPr/>
      <dgm:t>
        <a:bodyPr/>
        <a:lstStyle/>
        <a:p>
          <a:endParaRPr lang="ru-RU"/>
        </a:p>
      </dgm:t>
    </dgm:pt>
    <dgm:pt modelId="{84FE1BAF-DA42-439D-97F6-24A992BB2A93}" type="pres">
      <dgm:prSet presAssocID="{EC09EAC6-3E95-4792-87CC-3B3499AB2049}" presName="vert2" presStyleCnt="0"/>
      <dgm:spPr/>
    </dgm:pt>
    <dgm:pt modelId="{D8D1C378-A389-4C84-BEEA-595757790C96}" type="pres">
      <dgm:prSet presAssocID="{EC09EAC6-3E95-4792-87CC-3B3499AB2049}" presName="thinLine2b" presStyleLbl="callout" presStyleIdx="2" presStyleCnt="17"/>
      <dgm:spPr/>
    </dgm:pt>
    <dgm:pt modelId="{6C675FA7-BAFA-40F2-888A-CB7C98A21328}" type="pres">
      <dgm:prSet presAssocID="{EC09EAC6-3E95-4792-87CC-3B3499AB2049}" presName="vertSpace2b" presStyleCnt="0"/>
      <dgm:spPr/>
    </dgm:pt>
    <dgm:pt modelId="{9DB97AA0-3692-4614-86CE-E4A413C65E4E}" type="pres">
      <dgm:prSet presAssocID="{EE734B78-5291-4B26-BEC0-32C1A4818D98}" presName="horz2" presStyleCnt="0"/>
      <dgm:spPr/>
    </dgm:pt>
    <dgm:pt modelId="{13F485B9-FA54-47F7-9306-711F10CDF18C}" type="pres">
      <dgm:prSet presAssocID="{EE734B78-5291-4B26-BEC0-32C1A4818D98}" presName="horzSpace2" presStyleCnt="0"/>
      <dgm:spPr/>
    </dgm:pt>
    <dgm:pt modelId="{3AF322C9-5E45-4913-AD55-1F3D28D9B19C}" type="pres">
      <dgm:prSet presAssocID="{EE734B78-5291-4B26-BEC0-32C1A4818D98}" presName="tx2" presStyleLbl="revTx" presStyleIdx="4" presStyleCnt="18"/>
      <dgm:spPr/>
      <dgm:t>
        <a:bodyPr/>
        <a:lstStyle/>
        <a:p>
          <a:endParaRPr lang="ru-RU"/>
        </a:p>
      </dgm:t>
    </dgm:pt>
    <dgm:pt modelId="{2EF99039-FE37-4CD0-8209-A5D4BE46EF23}" type="pres">
      <dgm:prSet presAssocID="{EE734B78-5291-4B26-BEC0-32C1A4818D98}" presName="vert2" presStyleCnt="0"/>
      <dgm:spPr/>
    </dgm:pt>
    <dgm:pt modelId="{D54E7E31-9AA8-45CC-9723-0A92013765A0}" type="pres">
      <dgm:prSet presAssocID="{EE734B78-5291-4B26-BEC0-32C1A4818D98}" presName="thinLine2b" presStyleLbl="callout" presStyleIdx="3" presStyleCnt="17"/>
      <dgm:spPr/>
    </dgm:pt>
    <dgm:pt modelId="{A957F0C8-178D-488F-A788-19D0C5E0A6F5}" type="pres">
      <dgm:prSet presAssocID="{EE734B78-5291-4B26-BEC0-32C1A4818D98}" presName="vertSpace2b" presStyleCnt="0"/>
      <dgm:spPr/>
    </dgm:pt>
    <dgm:pt modelId="{BD2FE92D-3B30-4D1A-872A-785C9A46A649}" type="pres">
      <dgm:prSet presAssocID="{4A5C8EBC-7209-4195-BA8C-CFEAA196AC54}" presName="horz2" presStyleCnt="0"/>
      <dgm:spPr/>
    </dgm:pt>
    <dgm:pt modelId="{0D333013-532C-4654-9D0E-41EDC1B7E8E9}" type="pres">
      <dgm:prSet presAssocID="{4A5C8EBC-7209-4195-BA8C-CFEAA196AC54}" presName="horzSpace2" presStyleCnt="0"/>
      <dgm:spPr/>
    </dgm:pt>
    <dgm:pt modelId="{E2FDF9CB-5C27-4D49-A7FE-754983E1E007}" type="pres">
      <dgm:prSet presAssocID="{4A5C8EBC-7209-4195-BA8C-CFEAA196AC54}" presName="tx2" presStyleLbl="revTx" presStyleIdx="5" presStyleCnt="18"/>
      <dgm:spPr/>
      <dgm:t>
        <a:bodyPr/>
        <a:lstStyle/>
        <a:p>
          <a:endParaRPr lang="ru-RU"/>
        </a:p>
      </dgm:t>
    </dgm:pt>
    <dgm:pt modelId="{A9FC31C9-974A-4040-9F9E-4B0866C9E616}" type="pres">
      <dgm:prSet presAssocID="{4A5C8EBC-7209-4195-BA8C-CFEAA196AC54}" presName="vert2" presStyleCnt="0"/>
      <dgm:spPr/>
    </dgm:pt>
    <dgm:pt modelId="{07FB3F66-4E73-4C63-BD8D-72C2F1CF1A9F}" type="pres">
      <dgm:prSet presAssocID="{4A5C8EBC-7209-4195-BA8C-CFEAA196AC54}" presName="thinLine2b" presStyleLbl="callout" presStyleIdx="4" presStyleCnt="17"/>
      <dgm:spPr/>
    </dgm:pt>
    <dgm:pt modelId="{BE88CA80-F140-4DA5-A714-1DDB155D391D}" type="pres">
      <dgm:prSet presAssocID="{4A5C8EBC-7209-4195-BA8C-CFEAA196AC54}" presName="vertSpace2b" presStyleCnt="0"/>
      <dgm:spPr/>
    </dgm:pt>
    <dgm:pt modelId="{43B54FC3-B0B0-4A36-8F9A-9B8B641EA619}" type="pres">
      <dgm:prSet presAssocID="{2E1AD69E-D4C6-479E-8601-4F6CC2564E34}" presName="horz2" presStyleCnt="0"/>
      <dgm:spPr/>
    </dgm:pt>
    <dgm:pt modelId="{9583A6CE-E17A-432E-9829-586451BE9E32}" type="pres">
      <dgm:prSet presAssocID="{2E1AD69E-D4C6-479E-8601-4F6CC2564E34}" presName="horzSpace2" presStyleCnt="0"/>
      <dgm:spPr/>
    </dgm:pt>
    <dgm:pt modelId="{F43D1D17-B3A0-4A9F-A9B6-3E23430E8882}" type="pres">
      <dgm:prSet presAssocID="{2E1AD69E-D4C6-479E-8601-4F6CC2564E34}" presName="tx2" presStyleLbl="revTx" presStyleIdx="6" presStyleCnt="18"/>
      <dgm:spPr/>
      <dgm:t>
        <a:bodyPr/>
        <a:lstStyle/>
        <a:p>
          <a:endParaRPr lang="ru-RU"/>
        </a:p>
      </dgm:t>
    </dgm:pt>
    <dgm:pt modelId="{CE52DFA6-032A-4EFD-93B8-603745781271}" type="pres">
      <dgm:prSet presAssocID="{2E1AD69E-D4C6-479E-8601-4F6CC2564E34}" presName="vert2" presStyleCnt="0"/>
      <dgm:spPr/>
    </dgm:pt>
    <dgm:pt modelId="{DB6CBF62-94D5-4176-92F2-49228F9B953D}" type="pres">
      <dgm:prSet presAssocID="{2E1AD69E-D4C6-479E-8601-4F6CC2564E34}" presName="thinLine2b" presStyleLbl="callout" presStyleIdx="5" presStyleCnt="17"/>
      <dgm:spPr/>
    </dgm:pt>
    <dgm:pt modelId="{55DE07AE-CBF9-4C2F-A5B2-8EC979D02E86}" type="pres">
      <dgm:prSet presAssocID="{2E1AD69E-D4C6-479E-8601-4F6CC2564E34}" presName="vertSpace2b" presStyleCnt="0"/>
      <dgm:spPr/>
    </dgm:pt>
    <dgm:pt modelId="{242BA90A-2D4A-4EB5-9D7C-BE583451537E}" type="pres">
      <dgm:prSet presAssocID="{6B8CA359-7196-461D-830C-72BE88F8F5BC}" presName="horz2" presStyleCnt="0"/>
      <dgm:spPr/>
    </dgm:pt>
    <dgm:pt modelId="{B7020F35-4B3F-4442-86A7-2DED869C1DCF}" type="pres">
      <dgm:prSet presAssocID="{6B8CA359-7196-461D-830C-72BE88F8F5BC}" presName="horzSpace2" presStyleCnt="0"/>
      <dgm:spPr/>
    </dgm:pt>
    <dgm:pt modelId="{961D242E-DE73-4EC2-B888-9F991CA12280}" type="pres">
      <dgm:prSet presAssocID="{6B8CA359-7196-461D-830C-72BE88F8F5BC}" presName="tx2" presStyleLbl="revTx" presStyleIdx="7" presStyleCnt="18"/>
      <dgm:spPr/>
      <dgm:t>
        <a:bodyPr/>
        <a:lstStyle/>
        <a:p>
          <a:endParaRPr lang="ru-RU"/>
        </a:p>
      </dgm:t>
    </dgm:pt>
    <dgm:pt modelId="{7CEEBF29-5AE7-46C7-A6FB-6F4C1A8BCD67}" type="pres">
      <dgm:prSet presAssocID="{6B8CA359-7196-461D-830C-72BE88F8F5BC}" presName="vert2" presStyleCnt="0"/>
      <dgm:spPr/>
    </dgm:pt>
    <dgm:pt modelId="{1A7B0FC3-A902-461F-835E-2791DEFB044E}" type="pres">
      <dgm:prSet presAssocID="{6B8CA359-7196-461D-830C-72BE88F8F5BC}" presName="thinLine2b" presStyleLbl="callout" presStyleIdx="6" presStyleCnt="17"/>
      <dgm:spPr/>
    </dgm:pt>
    <dgm:pt modelId="{D4880544-E91B-4DC1-BD39-C577914278E7}" type="pres">
      <dgm:prSet presAssocID="{6B8CA359-7196-461D-830C-72BE88F8F5BC}" presName="vertSpace2b" presStyleCnt="0"/>
      <dgm:spPr/>
    </dgm:pt>
    <dgm:pt modelId="{7A9778BD-60A0-4705-BE65-171902DBDEB2}" type="pres">
      <dgm:prSet presAssocID="{F1B9B166-2A32-43EA-82F5-8E840E092F4A}" presName="horz2" presStyleCnt="0"/>
      <dgm:spPr/>
    </dgm:pt>
    <dgm:pt modelId="{75E67220-1C76-4FBA-B244-9DD3D6F58F1B}" type="pres">
      <dgm:prSet presAssocID="{F1B9B166-2A32-43EA-82F5-8E840E092F4A}" presName="horzSpace2" presStyleCnt="0"/>
      <dgm:spPr/>
    </dgm:pt>
    <dgm:pt modelId="{BAB977AA-2230-40A5-A065-A2F8D1B9A8B2}" type="pres">
      <dgm:prSet presAssocID="{F1B9B166-2A32-43EA-82F5-8E840E092F4A}" presName="tx2" presStyleLbl="revTx" presStyleIdx="8" presStyleCnt="18"/>
      <dgm:spPr/>
      <dgm:t>
        <a:bodyPr/>
        <a:lstStyle/>
        <a:p>
          <a:endParaRPr lang="ru-RU"/>
        </a:p>
      </dgm:t>
    </dgm:pt>
    <dgm:pt modelId="{58F245DF-CCA3-4B11-A8FF-AC7AD7DB1723}" type="pres">
      <dgm:prSet presAssocID="{F1B9B166-2A32-43EA-82F5-8E840E092F4A}" presName="vert2" presStyleCnt="0"/>
      <dgm:spPr/>
    </dgm:pt>
    <dgm:pt modelId="{39D7F2DC-E1C3-49B5-8D9D-487F55F9EAF6}" type="pres">
      <dgm:prSet presAssocID="{F1B9B166-2A32-43EA-82F5-8E840E092F4A}" presName="thinLine2b" presStyleLbl="callout" presStyleIdx="7" presStyleCnt="17"/>
      <dgm:spPr/>
    </dgm:pt>
    <dgm:pt modelId="{7110367C-F5DB-440F-AA15-D994D5C2A921}" type="pres">
      <dgm:prSet presAssocID="{F1B9B166-2A32-43EA-82F5-8E840E092F4A}" presName="vertSpace2b" presStyleCnt="0"/>
      <dgm:spPr/>
    </dgm:pt>
    <dgm:pt modelId="{2C55FAAD-164E-42A7-B04E-066E7F8FA9BC}" type="pres">
      <dgm:prSet presAssocID="{6493374D-456F-4772-B7C6-2723999DE945}" presName="horz2" presStyleCnt="0"/>
      <dgm:spPr/>
    </dgm:pt>
    <dgm:pt modelId="{86014435-D624-4167-84E3-9A5312FFB3F3}" type="pres">
      <dgm:prSet presAssocID="{6493374D-456F-4772-B7C6-2723999DE945}" presName="horzSpace2" presStyleCnt="0"/>
      <dgm:spPr/>
    </dgm:pt>
    <dgm:pt modelId="{A7D4C80D-143D-4771-BD6D-75E474873B31}" type="pres">
      <dgm:prSet presAssocID="{6493374D-456F-4772-B7C6-2723999DE945}" presName="tx2" presStyleLbl="revTx" presStyleIdx="9" presStyleCnt="18"/>
      <dgm:spPr/>
      <dgm:t>
        <a:bodyPr/>
        <a:lstStyle/>
        <a:p>
          <a:endParaRPr lang="ru-RU"/>
        </a:p>
      </dgm:t>
    </dgm:pt>
    <dgm:pt modelId="{9BFA361B-E5DC-475E-A2A9-30BA62299AB0}" type="pres">
      <dgm:prSet presAssocID="{6493374D-456F-4772-B7C6-2723999DE945}" presName="vert2" presStyleCnt="0"/>
      <dgm:spPr/>
    </dgm:pt>
    <dgm:pt modelId="{565268A7-B3CE-444A-81E5-58A700A2D1ED}" type="pres">
      <dgm:prSet presAssocID="{6493374D-456F-4772-B7C6-2723999DE945}" presName="thinLine2b" presStyleLbl="callout" presStyleIdx="8" presStyleCnt="17"/>
      <dgm:spPr/>
    </dgm:pt>
    <dgm:pt modelId="{FF018F87-EA71-4209-9720-919F33B90CD2}" type="pres">
      <dgm:prSet presAssocID="{6493374D-456F-4772-B7C6-2723999DE945}" presName="vertSpace2b" presStyleCnt="0"/>
      <dgm:spPr/>
    </dgm:pt>
    <dgm:pt modelId="{13F0E959-DD30-4E77-897D-3D19F1A2F0EC}" type="pres">
      <dgm:prSet presAssocID="{79EFA583-82F3-4E73-A745-10BD698728B8}" presName="horz2" presStyleCnt="0"/>
      <dgm:spPr/>
    </dgm:pt>
    <dgm:pt modelId="{94148F64-3A52-44EC-B13D-13E31E5F6B25}" type="pres">
      <dgm:prSet presAssocID="{79EFA583-82F3-4E73-A745-10BD698728B8}" presName="horzSpace2" presStyleCnt="0"/>
      <dgm:spPr/>
    </dgm:pt>
    <dgm:pt modelId="{D51F6DA9-B9C3-491A-B2B7-BD3C73F4838E}" type="pres">
      <dgm:prSet presAssocID="{79EFA583-82F3-4E73-A745-10BD698728B8}" presName="tx2" presStyleLbl="revTx" presStyleIdx="10" presStyleCnt="18"/>
      <dgm:spPr/>
      <dgm:t>
        <a:bodyPr/>
        <a:lstStyle/>
        <a:p>
          <a:endParaRPr lang="ru-RU"/>
        </a:p>
      </dgm:t>
    </dgm:pt>
    <dgm:pt modelId="{B071F3FE-E8F9-4FCE-92A5-7708DF5D8D46}" type="pres">
      <dgm:prSet presAssocID="{79EFA583-82F3-4E73-A745-10BD698728B8}" presName="vert2" presStyleCnt="0"/>
      <dgm:spPr/>
    </dgm:pt>
    <dgm:pt modelId="{F071AFC4-885D-441A-BF86-3033BBC102E2}" type="pres">
      <dgm:prSet presAssocID="{79EFA583-82F3-4E73-A745-10BD698728B8}" presName="thinLine2b" presStyleLbl="callout" presStyleIdx="9" presStyleCnt="17"/>
      <dgm:spPr/>
    </dgm:pt>
    <dgm:pt modelId="{FE12E195-BAB5-4B3B-B719-5A632DECA946}" type="pres">
      <dgm:prSet presAssocID="{79EFA583-82F3-4E73-A745-10BD698728B8}" presName="vertSpace2b" presStyleCnt="0"/>
      <dgm:spPr/>
    </dgm:pt>
    <dgm:pt modelId="{083D03D3-2B40-43B6-8A01-D72569B5C194}" type="pres">
      <dgm:prSet presAssocID="{CEB2AFE7-E0E2-4A22-AF09-7B71EEDEF8A4}" presName="horz2" presStyleCnt="0"/>
      <dgm:spPr/>
    </dgm:pt>
    <dgm:pt modelId="{DFA54126-9D6D-4E3C-AA97-C9A2CF8FB0AC}" type="pres">
      <dgm:prSet presAssocID="{CEB2AFE7-E0E2-4A22-AF09-7B71EEDEF8A4}" presName="horzSpace2" presStyleCnt="0"/>
      <dgm:spPr/>
    </dgm:pt>
    <dgm:pt modelId="{097EB95D-C6C6-46D9-99F0-D2C5E908BD4C}" type="pres">
      <dgm:prSet presAssocID="{CEB2AFE7-E0E2-4A22-AF09-7B71EEDEF8A4}" presName="tx2" presStyleLbl="revTx" presStyleIdx="11" presStyleCnt="18"/>
      <dgm:spPr/>
      <dgm:t>
        <a:bodyPr/>
        <a:lstStyle/>
        <a:p>
          <a:endParaRPr lang="ru-RU"/>
        </a:p>
      </dgm:t>
    </dgm:pt>
    <dgm:pt modelId="{8607AFBB-1497-4541-971A-39A02663CABE}" type="pres">
      <dgm:prSet presAssocID="{CEB2AFE7-E0E2-4A22-AF09-7B71EEDEF8A4}" presName="vert2" presStyleCnt="0"/>
      <dgm:spPr/>
    </dgm:pt>
    <dgm:pt modelId="{955232D2-41F1-4F3C-A660-17EF0F634EE2}" type="pres">
      <dgm:prSet presAssocID="{CEB2AFE7-E0E2-4A22-AF09-7B71EEDEF8A4}" presName="thinLine2b" presStyleLbl="callout" presStyleIdx="10" presStyleCnt="17"/>
      <dgm:spPr/>
    </dgm:pt>
    <dgm:pt modelId="{71DFDCD0-AEC8-4E07-A35A-5ACB1B4F4536}" type="pres">
      <dgm:prSet presAssocID="{CEB2AFE7-E0E2-4A22-AF09-7B71EEDEF8A4}" presName="vertSpace2b" presStyleCnt="0"/>
      <dgm:spPr/>
    </dgm:pt>
    <dgm:pt modelId="{63A8F115-75EC-4E93-AF8E-C24583E14D7D}" type="pres">
      <dgm:prSet presAssocID="{09DB8015-E5D0-4733-8C17-BBCE94292592}" presName="horz2" presStyleCnt="0"/>
      <dgm:spPr/>
    </dgm:pt>
    <dgm:pt modelId="{B5CCF44D-97DA-4160-826B-1CD60E89C3B2}" type="pres">
      <dgm:prSet presAssocID="{09DB8015-E5D0-4733-8C17-BBCE94292592}" presName="horzSpace2" presStyleCnt="0"/>
      <dgm:spPr/>
    </dgm:pt>
    <dgm:pt modelId="{C7FE4EF9-D19B-4378-AFE8-69226E51F829}" type="pres">
      <dgm:prSet presAssocID="{09DB8015-E5D0-4733-8C17-BBCE94292592}" presName="tx2" presStyleLbl="revTx" presStyleIdx="12" presStyleCnt="18"/>
      <dgm:spPr/>
      <dgm:t>
        <a:bodyPr/>
        <a:lstStyle/>
        <a:p>
          <a:endParaRPr lang="ru-RU"/>
        </a:p>
      </dgm:t>
    </dgm:pt>
    <dgm:pt modelId="{32AADE2F-3032-4788-B6E2-AF662784913D}" type="pres">
      <dgm:prSet presAssocID="{09DB8015-E5D0-4733-8C17-BBCE94292592}" presName="vert2" presStyleCnt="0"/>
      <dgm:spPr/>
    </dgm:pt>
    <dgm:pt modelId="{2AD9158C-17F4-4050-B542-5819266A5A96}" type="pres">
      <dgm:prSet presAssocID="{09DB8015-E5D0-4733-8C17-BBCE94292592}" presName="thinLine2b" presStyleLbl="callout" presStyleIdx="11" presStyleCnt="17"/>
      <dgm:spPr/>
    </dgm:pt>
    <dgm:pt modelId="{EF2D399D-2F84-4401-AF1E-287D79D8E6C0}" type="pres">
      <dgm:prSet presAssocID="{09DB8015-E5D0-4733-8C17-BBCE94292592}" presName="vertSpace2b" presStyleCnt="0"/>
      <dgm:spPr/>
    </dgm:pt>
    <dgm:pt modelId="{1372C72B-A6EC-4568-8D65-5EAEFCA01549}" type="pres">
      <dgm:prSet presAssocID="{13902789-624F-46E2-9023-65C3D87D7222}" presName="horz2" presStyleCnt="0"/>
      <dgm:spPr/>
    </dgm:pt>
    <dgm:pt modelId="{48FB6952-75FB-4207-A2A8-4AADC0C58F34}" type="pres">
      <dgm:prSet presAssocID="{13902789-624F-46E2-9023-65C3D87D7222}" presName="horzSpace2" presStyleCnt="0"/>
      <dgm:spPr/>
    </dgm:pt>
    <dgm:pt modelId="{68D9C991-E1DD-488B-A044-6E6EB59EC77E}" type="pres">
      <dgm:prSet presAssocID="{13902789-624F-46E2-9023-65C3D87D7222}" presName="tx2" presStyleLbl="revTx" presStyleIdx="13" presStyleCnt="18"/>
      <dgm:spPr/>
      <dgm:t>
        <a:bodyPr/>
        <a:lstStyle/>
        <a:p>
          <a:endParaRPr lang="ru-RU"/>
        </a:p>
      </dgm:t>
    </dgm:pt>
    <dgm:pt modelId="{DD81D42A-ABCB-42E1-B63A-B6C373218397}" type="pres">
      <dgm:prSet presAssocID="{13902789-624F-46E2-9023-65C3D87D7222}" presName="vert2" presStyleCnt="0"/>
      <dgm:spPr/>
    </dgm:pt>
    <dgm:pt modelId="{D46A252E-9E17-49B7-BD6D-C8C4C512067F}" type="pres">
      <dgm:prSet presAssocID="{13902789-624F-46E2-9023-65C3D87D7222}" presName="thinLine2b" presStyleLbl="callout" presStyleIdx="12" presStyleCnt="17"/>
      <dgm:spPr/>
    </dgm:pt>
    <dgm:pt modelId="{5439664A-C527-42AA-A282-FD8A6E667136}" type="pres">
      <dgm:prSet presAssocID="{13902789-624F-46E2-9023-65C3D87D7222}" presName="vertSpace2b" presStyleCnt="0"/>
      <dgm:spPr/>
    </dgm:pt>
    <dgm:pt modelId="{8A739457-0022-4E53-BF0C-878E9CB6990A}" type="pres">
      <dgm:prSet presAssocID="{662B4A39-B2EC-422E-BA3D-881994F993D2}" presName="horz2" presStyleCnt="0"/>
      <dgm:spPr/>
    </dgm:pt>
    <dgm:pt modelId="{672CEE13-E5F4-4792-901D-33C7AD316DBD}" type="pres">
      <dgm:prSet presAssocID="{662B4A39-B2EC-422E-BA3D-881994F993D2}" presName="horzSpace2" presStyleCnt="0"/>
      <dgm:spPr/>
    </dgm:pt>
    <dgm:pt modelId="{42279700-4326-4C1C-AC08-FB01165246F0}" type="pres">
      <dgm:prSet presAssocID="{662B4A39-B2EC-422E-BA3D-881994F993D2}" presName="tx2" presStyleLbl="revTx" presStyleIdx="14" presStyleCnt="18"/>
      <dgm:spPr/>
      <dgm:t>
        <a:bodyPr/>
        <a:lstStyle/>
        <a:p>
          <a:endParaRPr lang="ru-RU"/>
        </a:p>
      </dgm:t>
    </dgm:pt>
    <dgm:pt modelId="{FAA936CC-F4A3-4634-9CF3-4A6E05634400}" type="pres">
      <dgm:prSet presAssocID="{662B4A39-B2EC-422E-BA3D-881994F993D2}" presName="vert2" presStyleCnt="0"/>
      <dgm:spPr/>
    </dgm:pt>
    <dgm:pt modelId="{5E5D2AA0-F45C-41B8-81E2-6E25A02DBCE1}" type="pres">
      <dgm:prSet presAssocID="{662B4A39-B2EC-422E-BA3D-881994F993D2}" presName="thinLine2b" presStyleLbl="callout" presStyleIdx="13" presStyleCnt="17"/>
      <dgm:spPr/>
    </dgm:pt>
    <dgm:pt modelId="{0F5C9B36-AFBF-41FE-9F3E-5389930AAB73}" type="pres">
      <dgm:prSet presAssocID="{662B4A39-B2EC-422E-BA3D-881994F993D2}" presName="vertSpace2b" presStyleCnt="0"/>
      <dgm:spPr/>
    </dgm:pt>
    <dgm:pt modelId="{A46AA8FB-942D-42AD-8C3C-0B5BB2FC20A3}" type="pres">
      <dgm:prSet presAssocID="{EEF72F8A-D582-49F5-BD7B-EE22A76BDDD8}" presName="horz2" presStyleCnt="0"/>
      <dgm:spPr/>
    </dgm:pt>
    <dgm:pt modelId="{A43A4507-ADB3-4C30-94F6-40840989E70C}" type="pres">
      <dgm:prSet presAssocID="{EEF72F8A-D582-49F5-BD7B-EE22A76BDDD8}" presName="horzSpace2" presStyleCnt="0"/>
      <dgm:spPr/>
    </dgm:pt>
    <dgm:pt modelId="{470DDA8A-E1E7-4D58-83D4-0664E4554317}" type="pres">
      <dgm:prSet presAssocID="{EEF72F8A-D582-49F5-BD7B-EE22A76BDDD8}" presName="tx2" presStyleLbl="revTx" presStyleIdx="15" presStyleCnt="18"/>
      <dgm:spPr/>
      <dgm:t>
        <a:bodyPr/>
        <a:lstStyle/>
        <a:p>
          <a:endParaRPr lang="ru-RU"/>
        </a:p>
      </dgm:t>
    </dgm:pt>
    <dgm:pt modelId="{58F54863-4489-4C1F-96EA-E62BA4A729DD}" type="pres">
      <dgm:prSet presAssocID="{EEF72F8A-D582-49F5-BD7B-EE22A76BDDD8}" presName="vert2" presStyleCnt="0"/>
      <dgm:spPr/>
    </dgm:pt>
    <dgm:pt modelId="{0B879516-173A-42E9-98BF-BE438C8B74A3}" type="pres">
      <dgm:prSet presAssocID="{EEF72F8A-D582-49F5-BD7B-EE22A76BDDD8}" presName="thinLine2b" presStyleLbl="callout" presStyleIdx="14" presStyleCnt="17"/>
      <dgm:spPr/>
    </dgm:pt>
    <dgm:pt modelId="{14E98684-83E2-49CD-A2BA-B3BE689FC10C}" type="pres">
      <dgm:prSet presAssocID="{EEF72F8A-D582-49F5-BD7B-EE22A76BDDD8}" presName="vertSpace2b" presStyleCnt="0"/>
      <dgm:spPr/>
    </dgm:pt>
    <dgm:pt modelId="{4E5EDBB9-9F38-4DEB-AFE7-9A56A771750A}" type="pres">
      <dgm:prSet presAssocID="{C137D78C-8244-44E8-9566-A8DC06B493A2}" presName="horz2" presStyleCnt="0"/>
      <dgm:spPr/>
    </dgm:pt>
    <dgm:pt modelId="{968D9616-3515-4ADC-B61E-C3666717A799}" type="pres">
      <dgm:prSet presAssocID="{C137D78C-8244-44E8-9566-A8DC06B493A2}" presName="horzSpace2" presStyleCnt="0"/>
      <dgm:spPr/>
    </dgm:pt>
    <dgm:pt modelId="{B9068812-8053-4B8D-861F-61085E260EB6}" type="pres">
      <dgm:prSet presAssocID="{C137D78C-8244-44E8-9566-A8DC06B493A2}" presName="tx2" presStyleLbl="revTx" presStyleIdx="16" presStyleCnt="18"/>
      <dgm:spPr/>
      <dgm:t>
        <a:bodyPr/>
        <a:lstStyle/>
        <a:p>
          <a:endParaRPr lang="ru-RU"/>
        </a:p>
      </dgm:t>
    </dgm:pt>
    <dgm:pt modelId="{A8CE0C8D-EBAB-4333-AA0C-80BA0E0FED8B}" type="pres">
      <dgm:prSet presAssocID="{C137D78C-8244-44E8-9566-A8DC06B493A2}" presName="vert2" presStyleCnt="0"/>
      <dgm:spPr/>
    </dgm:pt>
    <dgm:pt modelId="{CE350882-3BE1-4A67-89E3-9A01EA4029F0}" type="pres">
      <dgm:prSet presAssocID="{C137D78C-8244-44E8-9566-A8DC06B493A2}" presName="thinLine2b" presStyleLbl="callout" presStyleIdx="15" presStyleCnt="17"/>
      <dgm:spPr/>
    </dgm:pt>
    <dgm:pt modelId="{D8FEEC69-DC2F-4B78-B9E4-6F81F91CF3A7}" type="pres">
      <dgm:prSet presAssocID="{C137D78C-8244-44E8-9566-A8DC06B493A2}" presName="vertSpace2b" presStyleCnt="0"/>
      <dgm:spPr/>
    </dgm:pt>
    <dgm:pt modelId="{0ABA67AA-5E8D-420D-AA21-87C2A0A873FF}" type="pres">
      <dgm:prSet presAssocID="{6CBBEA8D-75C9-4322-ADDF-73A2BBF82650}" presName="horz2" presStyleCnt="0"/>
      <dgm:spPr/>
    </dgm:pt>
    <dgm:pt modelId="{8F22FF67-A718-4DF7-935E-D977749F8E3D}" type="pres">
      <dgm:prSet presAssocID="{6CBBEA8D-75C9-4322-ADDF-73A2BBF82650}" presName="horzSpace2" presStyleCnt="0"/>
      <dgm:spPr/>
    </dgm:pt>
    <dgm:pt modelId="{DC719C65-2ACA-4441-BF96-39F3D3057043}" type="pres">
      <dgm:prSet presAssocID="{6CBBEA8D-75C9-4322-ADDF-73A2BBF82650}" presName="tx2" presStyleLbl="revTx" presStyleIdx="17" presStyleCnt="18"/>
      <dgm:spPr/>
      <dgm:t>
        <a:bodyPr/>
        <a:lstStyle/>
        <a:p>
          <a:endParaRPr lang="ru-RU"/>
        </a:p>
      </dgm:t>
    </dgm:pt>
    <dgm:pt modelId="{55C80875-3244-4B71-B100-B1FE8C20D436}" type="pres">
      <dgm:prSet presAssocID="{6CBBEA8D-75C9-4322-ADDF-73A2BBF82650}" presName="vert2" presStyleCnt="0"/>
      <dgm:spPr/>
    </dgm:pt>
    <dgm:pt modelId="{79D18533-1F07-40A8-A230-A9301697D18A}" type="pres">
      <dgm:prSet presAssocID="{6CBBEA8D-75C9-4322-ADDF-73A2BBF82650}" presName="thinLine2b" presStyleLbl="callout" presStyleIdx="16" presStyleCnt="17"/>
      <dgm:spPr/>
    </dgm:pt>
    <dgm:pt modelId="{3FAB5447-B545-4FEF-9EBC-EA46ACA79918}" type="pres">
      <dgm:prSet presAssocID="{6CBBEA8D-75C9-4322-ADDF-73A2BBF82650}" presName="vertSpace2b" presStyleCnt="0"/>
      <dgm:spPr/>
    </dgm:pt>
  </dgm:ptLst>
  <dgm:cxnLst>
    <dgm:cxn modelId="{BD6E85B7-7643-432C-8713-700D3883A4B4}" srcId="{78844E5D-0442-44A8-8475-FE2A85E6612E}" destId="{09DB8015-E5D0-4733-8C17-BBCE94292592}" srcOrd="11" destOrd="0" parTransId="{EDC90424-47D8-49E7-B5E6-C1766D009EAD}" sibTransId="{93768539-2F17-4C95-BA3F-660E215AE0DF}"/>
    <dgm:cxn modelId="{69796771-7D09-4224-BFEC-12FBED961BF2}" type="presOf" srcId="{EE734B78-5291-4B26-BEC0-32C1A4818D98}" destId="{3AF322C9-5E45-4913-AD55-1F3D28D9B19C}" srcOrd="0" destOrd="0" presId="urn:microsoft.com/office/officeart/2008/layout/LinedList"/>
    <dgm:cxn modelId="{BF9B2D9D-377A-4289-B2E0-2BC397464DD5}" srcId="{78844E5D-0442-44A8-8475-FE2A85E6612E}" destId="{6493374D-456F-4772-B7C6-2723999DE945}" srcOrd="8" destOrd="0" parTransId="{B36884B6-A5FC-46ED-8DCE-A4CA793FAD4F}" sibTransId="{E2D96D0A-8F88-4072-B327-DB91ECC0C823}"/>
    <dgm:cxn modelId="{DE7446AA-1CA5-4AD6-9496-B3F3EF61DFF0}" type="presOf" srcId="{79EFA583-82F3-4E73-A745-10BD698728B8}" destId="{D51F6DA9-B9C3-491A-B2B7-BD3C73F4838E}" srcOrd="0" destOrd="0" presId="urn:microsoft.com/office/officeart/2008/layout/LinedList"/>
    <dgm:cxn modelId="{55235E0F-9D80-417B-A0B6-6B961DB12058}" srcId="{78844E5D-0442-44A8-8475-FE2A85E6612E}" destId="{79EFA583-82F3-4E73-A745-10BD698728B8}" srcOrd="9" destOrd="0" parTransId="{501EE9D2-D1F3-4E28-86DA-25A555FB8E3A}" sibTransId="{409BED50-7352-43E4-8AEF-927B68D7A9EA}"/>
    <dgm:cxn modelId="{CA5A071A-FE9D-4DC4-BE8D-C8A998BF385A}" type="presOf" srcId="{C137D78C-8244-44E8-9566-A8DC06B493A2}" destId="{B9068812-8053-4B8D-861F-61085E260EB6}" srcOrd="0" destOrd="0" presId="urn:microsoft.com/office/officeart/2008/layout/LinedList"/>
    <dgm:cxn modelId="{F6E5D87D-4879-42B8-A365-FC59348AAE6F}" srcId="{78844E5D-0442-44A8-8475-FE2A85E6612E}" destId="{CEB2AFE7-E0E2-4A22-AF09-7B71EEDEF8A4}" srcOrd="10" destOrd="0" parTransId="{04768850-11C2-460F-BBD5-665159E8B41A}" sibTransId="{3A4D645E-8233-4D49-99CF-08A8A1DEF5C8}"/>
    <dgm:cxn modelId="{281B8D1F-08D1-4F67-840E-5C741155C7EE}" srcId="{78844E5D-0442-44A8-8475-FE2A85E6612E}" destId="{662B4A39-B2EC-422E-BA3D-881994F993D2}" srcOrd="13" destOrd="0" parTransId="{C5C58955-C118-4CD0-A3CE-78045694D8D0}" sibTransId="{CF980072-9AA2-44F4-8E6B-1367B102BDD3}"/>
    <dgm:cxn modelId="{7008A982-B1D8-4767-A394-A3A81EEF67F1}" srcId="{78844E5D-0442-44A8-8475-FE2A85E6612E}" destId="{2E1AD69E-D4C6-479E-8601-4F6CC2564E34}" srcOrd="5" destOrd="0" parTransId="{25B447F8-9FEC-467F-9582-F4407D71FD8B}" sibTransId="{7BA01AF2-F8B0-480B-A2ED-CFE21C8E34BA}"/>
    <dgm:cxn modelId="{319017B8-6CB3-463E-8F60-75788E35892F}" srcId="{78844E5D-0442-44A8-8475-FE2A85E6612E}" destId="{F1B9B166-2A32-43EA-82F5-8E840E092F4A}" srcOrd="7" destOrd="0" parTransId="{65D0A101-FDEA-449B-BA4F-745493E16838}" sibTransId="{7B77299B-FDF4-4739-95AA-927120F3227C}"/>
    <dgm:cxn modelId="{87B21265-086C-4EE1-8856-95F66250EBCC}" type="presOf" srcId="{6CBBEA8D-75C9-4322-ADDF-73A2BBF82650}" destId="{DC719C65-2ACA-4441-BF96-39F3D3057043}" srcOrd="0" destOrd="0" presId="urn:microsoft.com/office/officeart/2008/layout/LinedList"/>
    <dgm:cxn modelId="{92B0F136-65D6-417C-9477-8E0A8FAAD6F0}" srcId="{78844E5D-0442-44A8-8475-FE2A85E6612E}" destId="{3CDA9B40-39A1-4D1C-A641-D62E1BA4D45A}" srcOrd="0" destOrd="0" parTransId="{9F880609-F91B-4D52-B14C-B0E2EDCB14E7}" sibTransId="{C7B69D4E-B7BD-426C-8B25-FCAC7BB5D8F1}"/>
    <dgm:cxn modelId="{2BA7EF1F-AF21-4CA0-B914-6BD3C2D3AF4B}" type="presOf" srcId="{78844E5D-0442-44A8-8475-FE2A85E6612E}" destId="{97665F14-F129-4B77-81E3-74A51A8D293F}" srcOrd="0" destOrd="0" presId="urn:microsoft.com/office/officeart/2008/layout/LinedList"/>
    <dgm:cxn modelId="{86E201D6-862E-4EB4-AE42-FC605CB7861E}" type="presOf" srcId="{6B8CA359-7196-461D-830C-72BE88F8F5BC}" destId="{961D242E-DE73-4EC2-B888-9F991CA12280}" srcOrd="0" destOrd="0" presId="urn:microsoft.com/office/officeart/2008/layout/LinedList"/>
    <dgm:cxn modelId="{05785EEB-F21B-4292-8478-88FE3D62BEAF}" type="presOf" srcId="{2E1AD69E-D4C6-479E-8601-4F6CC2564E34}" destId="{F43D1D17-B3A0-4A9F-A9B6-3E23430E8882}" srcOrd="0" destOrd="0" presId="urn:microsoft.com/office/officeart/2008/layout/LinedList"/>
    <dgm:cxn modelId="{00A0EE80-90D4-491A-8F3F-02269A157B33}" type="presOf" srcId="{CEB2AFE7-E0E2-4A22-AF09-7B71EEDEF8A4}" destId="{097EB95D-C6C6-46D9-99F0-D2C5E908BD4C}" srcOrd="0" destOrd="0" presId="urn:microsoft.com/office/officeart/2008/layout/LinedList"/>
    <dgm:cxn modelId="{22FDF96A-E24C-4CA8-8187-9C3042EFF359}" type="presOf" srcId="{146663CE-A416-48AC-B5C0-191E0827AE15}" destId="{639C9474-8DA6-44F1-B612-B0BA6D25DAC1}" srcOrd="0" destOrd="0" presId="urn:microsoft.com/office/officeart/2008/layout/LinedList"/>
    <dgm:cxn modelId="{517234B2-FC0E-46BA-BAA1-0FB220203358}" srcId="{78844E5D-0442-44A8-8475-FE2A85E6612E}" destId="{C137D78C-8244-44E8-9566-A8DC06B493A2}" srcOrd="15" destOrd="0" parTransId="{539656BB-70EF-47CE-832E-5200871DF5CE}" sibTransId="{9B37B8C2-305C-4747-A390-0A9318C42875}"/>
    <dgm:cxn modelId="{9B098EA8-56E6-4445-AD30-6DCB63725D69}" type="presOf" srcId="{13902789-624F-46E2-9023-65C3D87D7222}" destId="{68D9C991-E1DD-488B-A044-6E6EB59EC77E}" srcOrd="0" destOrd="0" presId="urn:microsoft.com/office/officeart/2008/layout/LinedList"/>
    <dgm:cxn modelId="{C844DBC0-29BE-4336-8DBE-3FEB410A194A}" type="presOf" srcId="{662B4A39-B2EC-422E-BA3D-881994F993D2}" destId="{42279700-4326-4C1C-AC08-FB01165246F0}" srcOrd="0" destOrd="0" presId="urn:microsoft.com/office/officeart/2008/layout/LinedList"/>
    <dgm:cxn modelId="{A5048D9C-99D1-42A1-8D03-D950465C2C1E}" type="presOf" srcId="{F1B9B166-2A32-43EA-82F5-8E840E092F4A}" destId="{BAB977AA-2230-40A5-A065-A2F8D1B9A8B2}" srcOrd="0" destOrd="0" presId="urn:microsoft.com/office/officeart/2008/layout/LinedList"/>
    <dgm:cxn modelId="{B26EFFC4-1A8C-44F6-99B6-930442EDF42C}" type="presOf" srcId="{4A5C8EBC-7209-4195-BA8C-CFEAA196AC54}" destId="{E2FDF9CB-5C27-4D49-A7FE-754983E1E007}" srcOrd="0" destOrd="0" presId="urn:microsoft.com/office/officeart/2008/layout/LinedList"/>
    <dgm:cxn modelId="{F9307534-8983-4125-9A14-B95D9BE7D3F9}" type="presOf" srcId="{6493374D-456F-4772-B7C6-2723999DE945}" destId="{A7D4C80D-143D-4771-BD6D-75E474873B31}" srcOrd="0" destOrd="0" presId="urn:microsoft.com/office/officeart/2008/layout/LinedList"/>
    <dgm:cxn modelId="{6AC1EC58-1AEB-4554-81C3-E506704423D4}" srcId="{78844E5D-0442-44A8-8475-FE2A85E6612E}" destId="{6CBBEA8D-75C9-4322-ADDF-73A2BBF82650}" srcOrd="16" destOrd="0" parTransId="{951F2F53-3154-4C4A-8AEA-65FF107E1809}" sibTransId="{93882A94-0860-4371-B13D-988AE652A4F4}"/>
    <dgm:cxn modelId="{A753ABDA-A1F7-48BE-A8B6-40CDD5138F8F}" type="presOf" srcId="{EEF72F8A-D582-49F5-BD7B-EE22A76BDDD8}" destId="{470DDA8A-E1E7-4D58-83D4-0664E4554317}" srcOrd="0" destOrd="0" presId="urn:microsoft.com/office/officeart/2008/layout/LinedList"/>
    <dgm:cxn modelId="{AB5F3DC0-F878-4A49-BE41-D19B3C34D23A}" srcId="{146663CE-A416-48AC-B5C0-191E0827AE15}" destId="{78844E5D-0442-44A8-8475-FE2A85E6612E}" srcOrd="0" destOrd="0" parTransId="{816FB511-F88F-4002-874D-E702F17ECA50}" sibTransId="{943314F8-9DAF-4851-97D8-979C0F3835A5}"/>
    <dgm:cxn modelId="{79B3039D-CE5F-4796-89FA-A1CA1889570F}" srcId="{78844E5D-0442-44A8-8475-FE2A85E6612E}" destId="{EEF72F8A-D582-49F5-BD7B-EE22A76BDDD8}" srcOrd="14" destOrd="0" parTransId="{639903E1-1069-4560-BE19-90839A77AE4D}" sibTransId="{AD9A2121-0839-41BC-BC04-EF589526FAB0}"/>
    <dgm:cxn modelId="{58C43ADF-569F-41E0-BE28-1938807D1DE9}" type="presOf" srcId="{C2650286-8059-4894-A4E2-3FD6EEB925F7}" destId="{C792E326-6D7C-4B68-BCD1-FD1F4F3438D9}" srcOrd="0" destOrd="0" presId="urn:microsoft.com/office/officeart/2008/layout/LinedList"/>
    <dgm:cxn modelId="{793DB6AD-64E5-4B1C-BC97-56C727D817ED}" srcId="{78844E5D-0442-44A8-8475-FE2A85E6612E}" destId="{C2650286-8059-4894-A4E2-3FD6EEB925F7}" srcOrd="1" destOrd="0" parTransId="{EB7B85C8-6675-485F-AA5A-2CAF96CA5EFD}" sibTransId="{1A2C37CE-C788-4FAF-B927-105869F00990}"/>
    <dgm:cxn modelId="{FD902EA0-1D36-4DB8-A7A3-CFCABDB01B7A}" srcId="{78844E5D-0442-44A8-8475-FE2A85E6612E}" destId="{EE734B78-5291-4B26-BEC0-32C1A4818D98}" srcOrd="3" destOrd="0" parTransId="{15F0D137-73A0-439B-843C-55BE5E0D4509}" sibTransId="{E90E7432-0A95-4014-9981-8EECC07AEA48}"/>
    <dgm:cxn modelId="{57E2C618-3BCD-41B8-BD27-AF86AB4BA62F}" type="presOf" srcId="{09DB8015-E5D0-4733-8C17-BBCE94292592}" destId="{C7FE4EF9-D19B-4378-AFE8-69226E51F829}" srcOrd="0" destOrd="0" presId="urn:microsoft.com/office/officeart/2008/layout/LinedList"/>
    <dgm:cxn modelId="{7CB02081-8912-4015-AF6B-3A50A1451D7B}" srcId="{78844E5D-0442-44A8-8475-FE2A85E6612E}" destId="{13902789-624F-46E2-9023-65C3D87D7222}" srcOrd="12" destOrd="0" parTransId="{6DA6AD14-7891-4447-BB2F-B31D5802BFAF}" sibTransId="{BE7A26A8-0361-4E16-98EF-72137D82C7F6}"/>
    <dgm:cxn modelId="{ECA74095-55A6-403A-83BA-09002E1602F8}" srcId="{78844E5D-0442-44A8-8475-FE2A85E6612E}" destId="{4A5C8EBC-7209-4195-BA8C-CFEAA196AC54}" srcOrd="4" destOrd="0" parTransId="{B39C7DB9-E738-46CF-A529-CA741B74A7AD}" sibTransId="{A4EC556C-D1A9-4E2D-85B8-04119B868D3F}"/>
    <dgm:cxn modelId="{2E8AA53A-BADF-408B-9E7D-37042136084A}" srcId="{78844E5D-0442-44A8-8475-FE2A85E6612E}" destId="{EC09EAC6-3E95-4792-87CC-3B3499AB2049}" srcOrd="2" destOrd="0" parTransId="{7216218B-4BBC-4832-8DFD-947EE4CBEFE5}" sibTransId="{06639C1E-8707-4054-AB95-A3B756A8193F}"/>
    <dgm:cxn modelId="{8F98966F-C748-4690-A5D2-C1305EC21214}" type="presOf" srcId="{EC09EAC6-3E95-4792-87CC-3B3499AB2049}" destId="{C4D10D26-AE64-48F0-ACD2-84E8575896BB}" srcOrd="0" destOrd="0" presId="urn:microsoft.com/office/officeart/2008/layout/LinedList"/>
    <dgm:cxn modelId="{CD423932-9BEC-4E30-B378-B32DB258FEFC}" srcId="{78844E5D-0442-44A8-8475-FE2A85E6612E}" destId="{6B8CA359-7196-461D-830C-72BE88F8F5BC}" srcOrd="6" destOrd="0" parTransId="{B2E0BC00-2BB7-48EC-B9A8-8B488D606081}" sibTransId="{46C3482B-A345-4319-8E56-807383C677E2}"/>
    <dgm:cxn modelId="{E8421C90-30A0-4A7E-9D79-84773746C0AC}" type="presOf" srcId="{3CDA9B40-39A1-4D1C-A641-D62E1BA4D45A}" destId="{23109F76-BCD8-421B-B83B-CEE82C12B840}" srcOrd="0" destOrd="0" presId="urn:microsoft.com/office/officeart/2008/layout/LinedList"/>
    <dgm:cxn modelId="{3529F146-F11E-40D6-A73D-0BC46A1ED65C}" type="presParOf" srcId="{639C9474-8DA6-44F1-B612-B0BA6D25DAC1}" destId="{7D3C39C6-1448-4880-89FA-CE0493EE8D6D}" srcOrd="0" destOrd="0" presId="urn:microsoft.com/office/officeart/2008/layout/LinedList"/>
    <dgm:cxn modelId="{D4AB6B8B-281A-46CF-935F-CB021D3226B9}" type="presParOf" srcId="{639C9474-8DA6-44F1-B612-B0BA6D25DAC1}" destId="{FD9A336C-DB5A-4EBC-8E53-CB6D49A08F2F}" srcOrd="1" destOrd="0" presId="urn:microsoft.com/office/officeart/2008/layout/LinedList"/>
    <dgm:cxn modelId="{7B8B49BD-5892-4556-A4DC-6D3D489BCB6B}" type="presParOf" srcId="{FD9A336C-DB5A-4EBC-8E53-CB6D49A08F2F}" destId="{97665F14-F129-4B77-81E3-74A51A8D293F}" srcOrd="0" destOrd="0" presId="urn:microsoft.com/office/officeart/2008/layout/LinedList"/>
    <dgm:cxn modelId="{A6EB887F-3BCE-4301-9627-353AF55FA9AE}" type="presParOf" srcId="{FD9A336C-DB5A-4EBC-8E53-CB6D49A08F2F}" destId="{15B3E42D-2095-4B3D-88C8-F3C799BFB262}" srcOrd="1" destOrd="0" presId="urn:microsoft.com/office/officeart/2008/layout/LinedList"/>
    <dgm:cxn modelId="{641EB818-B970-441C-8F4E-0086EA242BBB}" type="presParOf" srcId="{15B3E42D-2095-4B3D-88C8-F3C799BFB262}" destId="{CE6F5D69-C71E-4229-A795-C324E4612BCB}" srcOrd="0" destOrd="0" presId="urn:microsoft.com/office/officeart/2008/layout/LinedList"/>
    <dgm:cxn modelId="{091C6BA4-9596-403C-81BF-D109EA564C39}" type="presParOf" srcId="{15B3E42D-2095-4B3D-88C8-F3C799BFB262}" destId="{4DD1B670-7BE8-4DE3-B1DE-19CCAE30920F}" srcOrd="1" destOrd="0" presId="urn:microsoft.com/office/officeart/2008/layout/LinedList"/>
    <dgm:cxn modelId="{C2B420DA-0248-4866-8FE8-D5F35D6643F7}" type="presParOf" srcId="{4DD1B670-7BE8-4DE3-B1DE-19CCAE30920F}" destId="{A7CD1193-DD1C-4261-917B-BD4B6146CBAE}" srcOrd="0" destOrd="0" presId="urn:microsoft.com/office/officeart/2008/layout/LinedList"/>
    <dgm:cxn modelId="{B4B96C6C-5120-486D-8D11-A87AAE0A40E3}" type="presParOf" srcId="{4DD1B670-7BE8-4DE3-B1DE-19CCAE30920F}" destId="{23109F76-BCD8-421B-B83B-CEE82C12B840}" srcOrd="1" destOrd="0" presId="urn:microsoft.com/office/officeart/2008/layout/LinedList"/>
    <dgm:cxn modelId="{2D26FAB4-0122-4C67-86D4-1212A5FB1B00}" type="presParOf" srcId="{4DD1B670-7BE8-4DE3-B1DE-19CCAE30920F}" destId="{EC7618D8-0D11-4061-9504-ACC6E85C32E4}" srcOrd="2" destOrd="0" presId="urn:microsoft.com/office/officeart/2008/layout/LinedList"/>
    <dgm:cxn modelId="{CF09C4B8-D052-4450-830C-A466BD7FA2FD}" type="presParOf" srcId="{15B3E42D-2095-4B3D-88C8-F3C799BFB262}" destId="{29DFA1C2-3596-4790-843A-BA4810720F90}" srcOrd="2" destOrd="0" presId="urn:microsoft.com/office/officeart/2008/layout/LinedList"/>
    <dgm:cxn modelId="{24F76D96-9CE2-4631-AE51-1EF846E30182}" type="presParOf" srcId="{15B3E42D-2095-4B3D-88C8-F3C799BFB262}" destId="{68AED7AA-87B0-4F7B-928C-C29A0E6381A6}" srcOrd="3" destOrd="0" presId="urn:microsoft.com/office/officeart/2008/layout/LinedList"/>
    <dgm:cxn modelId="{607CF810-C441-4F62-AA03-E4D73F968EF7}" type="presParOf" srcId="{15B3E42D-2095-4B3D-88C8-F3C799BFB262}" destId="{3239FBE9-9923-43E1-8A1D-8761AF0D7B4E}" srcOrd="4" destOrd="0" presId="urn:microsoft.com/office/officeart/2008/layout/LinedList"/>
    <dgm:cxn modelId="{C41D8394-731A-454C-87A3-4E4721964F3B}" type="presParOf" srcId="{3239FBE9-9923-43E1-8A1D-8761AF0D7B4E}" destId="{C9566422-B2B7-4256-99F1-1A1106B9FAEF}" srcOrd="0" destOrd="0" presId="urn:microsoft.com/office/officeart/2008/layout/LinedList"/>
    <dgm:cxn modelId="{962FF26C-319B-4A4F-9925-EF06D6785136}" type="presParOf" srcId="{3239FBE9-9923-43E1-8A1D-8761AF0D7B4E}" destId="{C792E326-6D7C-4B68-BCD1-FD1F4F3438D9}" srcOrd="1" destOrd="0" presId="urn:microsoft.com/office/officeart/2008/layout/LinedList"/>
    <dgm:cxn modelId="{588EB520-5843-45F5-A9ED-770D6E7EDD7F}" type="presParOf" srcId="{3239FBE9-9923-43E1-8A1D-8761AF0D7B4E}" destId="{66CB8BE5-BFB5-4541-AE03-E20A9BEBD9D4}" srcOrd="2" destOrd="0" presId="urn:microsoft.com/office/officeart/2008/layout/LinedList"/>
    <dgm:cxn modelId="{4BF84D5C-1057-4867-8A77-3357DE96E317}" type="presParOf" srcId="{15B3E42D-2095-4B3D-88C8-F3C799BFB262}" destId="{31796297-F740-417A-9B03-A031BD06ABF0}" srcOrd="5" destOrd="0" presId="urn:microsoft.com/office/officeart/2008/layout/LinedList"/>
    <dgm:cxn modelId="{AEBC98AE-3FFE-4411-AB80-CB3148EADFE1}" type="presParOf" srcId="{15B3E42D-2095-4B3D-88C8-F3C799BFB262}" destId="{63381074-1C26-41A4-BCAF-9A9EAE106713}" srcOrd="6" destOrd="0" presId="urn:microsoft.com/office/officeart/2008/layout/LinedList"/>
    <dgm:cxn modelId="{18548647-C2D3-4CEC-8CC5-099B3A22DB72}" type="presParOf" srcId="{15B3E42D-2095-4B3D-88C8-F3C799BFB262}" destId="{A2DC8EA2-DD2D-4C5B-90B8-EFBE2EEBD4ED}" srcOrd="7" destOrd="0" presId="urn:microsoft.com/office/officeart/2008/layout/LinedList"/>
    <dgm:cxn modelId="{8CFD308D-B029-477F-A3E6-9B089E845D12}" type="presParOf" srcId="{A2DC8EA2-DD2D-4C5B-90B8-EFBE2EEBD4ED}" destId="{77E2A592-7455-46EE-9FFE-B0740BBC15C9}" srcOrd="0" destOrd="0" presId="urn:microsoft.com/office/officeart/2008/layout/LinedList"/>
    <dgm:cxn modelId="{862AC9DC-F7DA-42F3-BFF2-D90F6DAD0772}" type="presParOf" srcId="{A2DC8EA2-DD2D-4C5B-90B8-EFBE2EEBD4ED}" destId="{C4D10D26-AE64-48F0-ACD2-84E8575896BB}" srcOrd="1" destOrd="0" presId="urn:microsoft.com/office/officeart/2008/layout/LinedList"/>
    <dgm:cxn modelId="{45C47ECD-95F9-4A91-9118-581FE1C7AD50}" type="presParOf" srcId="{A2DC8EA2-DD2D-4C5B-90B8-EFBE2EEBD4ED}" destId="{84FE1BAF-DA42-439D-97F6-24A992BB2A93}" srcOrd="2" destOrd="0" presId="urn:microsoft.com/office/officeart/2008/layout/LinedList"/>
    <dgm:cxn modelId="{42E39A25-AB9B-437D-83B6-13F63B766B43}" type="presParOf" srcId="{15B3E42D-2095-4B3D-88C8-F3C799BFB262}" destId="{D8D1C378-A389-4C84-BEEA-595757790C96}" srcOrd="8" destOrd="0" presId="urn:microsoft.com/office/officeart/2008/layout/LinedList"/>
    <dgm:cxn modelId="{39141920-7209-4639-8A9E-06A7ED91D173}" type="presParOf" srcId="{15B3E42D-2095-4B3D-88C8-F3C799BFB262}" destId="{6C675FA7-BAFA-40F2-888A-CB7C98A21328}" srcOrd="9" destOrd="0" presId="urn:microsoft.com/office/officeart/2008/layout/LinedList"/>
    <dgm:cxn modelId="{C242B2C9-B8AE-459A-9621-98A909B4BF35}" type="presParOf" srcId="{15B3E42D-2095-4B3D-88C8-F3C799BFB262}" destId="{9DB97AA0-3692-4614-86CE-E4A413C65E4E}" srcOrd="10" destOrd="0" presId="urn:microsoft.com/office/officeart/2008/layout/LinedList"/>
    <dgm:cxn modelId="{A9FEA501-244F-4BF6-B1BC-736BEA0BECA5}" type="presParOf" srcId="{9DB97AA0-3692-4614-86CE-E4A413C65E4E}" destId="{13F485B9-FA54-47F7-9306-711F10CDF18C}" srcOrd="0" destOrd="0" presId="urn:microsoft.com/office/officeart/2008/layout/LinedList"/>
    <dgm:cxn modelId="{79337C0D-AAB6-4D16-AC40-99F5203F5B19}" type="presParOf" srcId="{9DB97AA0-3692-4614-86CE-E4A413C65E4E}" destId="{3AF322C9-5E45-4913-AD55-1F3D28D9B19C}" srcOrd="1" destOrd="0" presId="urn:microsoft.com/office/officeart/2008/layout/LinedList"/>
    <dgm:cxn modelId="{92F551F0-70CF-44A8-A240-CF3D2E681015}" type="presParOf" srcId="{9DB97AA0-3692-4614-86CE-E4A413C65E4E}" destId="{2EF99039-FE37-4CD0-8209-A5D4BE46EF23}" srcOrd="2" destOrd="0" presId="urn:microsoft.com/office/officeart/2008/layout/LinedList"/>
    <dgm:cxn modelId="{9F3BAC5D-2C67-4E29-8FA7-28C647C07A6F}" type="presParOf" srcId="{15B3E42D-2095-4B3D-88C8-F3C799BFB262}" destId="{D54E7E31-9AA8-45CC-9723-0A92013765A0}" srcOrd="11" destOrd="0" presId="urn:microsoft.com/office/officeart/2008/layout/LinedList"/>
    <dgm:cxn modelId="{A6CE6702-B3E2-4158-8571-C12107D37CB9}" type="presParOf" srcId="{15B3E42D-2095-4B3D-88C8-F3C799BFB262}" destId="{A957F0C8-178D-488F-A788-19D0C5E0A6F5}" srcOrd="12" destOrd="0" presId="urn:microsoft.com/office/officeart/2008/layout/LinedList"/>
    <dgm:cxn modelId="{F2707D27-64FB-4B4B-8ECC-E5C1FA29BAE6}" type="presParOf" srcId="{15B3E42D-2095-4B3D-88C8-F3C799BFB262}" destId="{BD2FE92D-3B30-4D1A-872A-785C9A46A649}" srcOrd="13" destOrd="0" presId="urn:microsoft.com/office/officeart/2008/layout/LinedList"/>
    <dgm:cxn modelId="{3DE3106D-1CA3-4514-A1F5-8860F0F7485A}" type="presParOf" srcId="{BD2FE92D-3B30-4D1A-872A-785C9A46A649}" destId="{0D333013-532C-4654-9D0E-41EDC1B7E8E9}" srcOrd="0" destOrd="0" presId="urn:microsoft.com/office/officeart/2008/layout/LinedList"/>
    <dgm:cxn modelId="{5CAAFFC8-9998-4E57-BFB9-35E806233FCA}" type="presParOf" srcId="{BD2FE92D-3B30-4D1A-872A-785C9A46A649}" destId="{E2FDF9CB-5C27-4D49-A7FE-754983E1E007}" srcOrd="1" destOrd="0" presId="urn:microsoft.com/office/officeart/2008/layout/LinedList"/>
    <dgm:cxn modelId="{D482175D-260C-4DB5-8D3D-DE1368B4D336}" type="presParOf" srcId="{BD2FE92D-3B30-4D1A-872A-785C9A46A649}" destId="{A9FC31C9-974A-4040-9F9E-4B0866C9E616}" srcOrd="2" destOrd="0" presId="urn:microsoft.com/office/officeart/2008/layout/LinedList"/>
    <dgm:cxn modelId="{512E0698-B8DB-4CFE-9BDA-3A3CA81DFBEC}" type="presParOf" srcId="{15B3E42D-2095-4B3D-88C8-F3C799BFB262}" destId="{07FB3F66-4E73-4C63-BD8D-72C2F1CF1A9F}" srcOrd="14" destOrd="0" presId="urn:microsoft.com/office/officeart/2008/layout/LinedList"/>
    <dgm:cxn modelId="{9870621F-690C-4370-970A-D0AB4A6124A3}" type="presParOf" srcId="{15B3E42D-2095-4B3D-88C8-F3C799BFB262}" destId="{BE88CA80-F140-4DA5-A714-1DDB155D391D}" srcOrd="15" destOrd="0" presId="urn:microsoft.com/office/officeart/2008/layout/LinedList"/>
    <dgm:cxn modelId="{249F6B89-AFE2-46F1-A96F-48E31B084646}" type="presParOf" srcId="{15B3E42D-2095-4B3D-88C8-F3C799BFB262}" destId="{43B54FC3-B0B0-4A36-8F9A-9B8B641EA619}" srcOrd="16" destOrd="0" presId="urn:microsoft.com/office/officeart/2008/layout/LinedList"/>
    <dgm:cxn modelId="{707F2E64-8506-4FDB-8513-F626CF88412E}" type="presParOf" srcId="{43B54FC3-B0B0-4A36-8F9A-9B8B641EA619}" destId="{9583A6CE-E17A-432E-9829-586451BE9E32}" srcOrd="0" destOrd="0" presId="urn:microsoft.com/office/officeart/2008/layout/LinedList"/>
    <dgm:cxn modelId="{EC410E94-C41D-4CD6-B765-E9870BB74A6A}" type="presParOf" srcId="{43B54FC3-B0B0-4A36-8F9A-9B8B641EA619}" destId="{F43D1D17-B3A0-4A9F-A9B6-3E23430E8882}" srcOrd="1" destOrd="0" presId="urn:microsoft.com/office/officeart/2008/layout/LinedList"/>
    <dgm:cxn modelId="{8CA51D0F-3F99-4B68-8DA8-795659E2A0DB}" type="presParOf" srcId="{43B54FC3-B0B0-4A36-8F9A-9B8B641EA619}" destId="{CE52DFA6-032A-4EFD-93B8-603745781271}" srcOrd="2" destOrd="0" presId="urn:microsoft.com/office/officeart/2008/layout/LinedList"/>
    <dgm:cxn modelId="{D81265CB-C0E9-4758-8EAA-D6EACBF53E74}" type="presParOf" srcId="{15B3E42D-2095-4B3D-88C8-F3C799BFB262}" destId="{DB6CBF62-94D5-4176-92F2-49228F9B953D}" srcOrd="17" destOrd="0" presId="urn:microsoft.com/office/officeart/2008/layout/LinedList"/>
    <dgm:cxn modelId="{7D95E9F9-ACC3-420A-8E6C-32A223F14184}" type="presParOf" srcId="{15B3E42D-2095-4B3D-88C8-F3C799BFB262}" destId="{55DE07AE-CBF9-4C2F-A5B2-8EC979D02E86}" srcOrd="18" destOrd="0" presId="urn:microsoft.com/office/officeart/2008/layout/LinedList"/>
    <dgm:cxn modelId="{2D3BFB74-49F1-4EDB-A972-1A213A2DFAB0}" type="presParOf" srcId="{15B3E42D-2095-4B3D-88C8-F3C799BFB262}" destId="{242BA90A-2D4A-4EB5-9D7C-BE583451537E}" srcOrd="19" destOrd="0" presId="urn:microsoft.com/office/officeart/2008/layout/LinedList"/>
    <dgm:cxn modelId="{21AE6184-6596-48EB-B820-A4476E7D87D9}" type="presParOf" srcId="{242BA90A-2D4A-4EB5-9D7C-BE583451537E}" destId="{B7020F35-4B3F-4442-86A7-2DED869C1DCF}" srcOrd="0" destOrd="0" presId="urn:microsoft.com/office/officeart/2008/layout/LinedList"/>
    <dgm:cxn modelId="{F733089F-DDA6-4A20-BB0C-31044C5AB75F}" type="presParOf" srcId="{242BA90A-2D4A-4EB5-9D7C-BE583451537E}" destId="{961D242E-DE73-4EC2-B888-9F991CA12280}" srcOrd="1" destOrd="0" presId="urn:microsoft.com/office/officeart/2008/layout/LinedList"/>
    <dgm:cxn modelId="{A7CC5BB8-293C-466E-91F9-B63EE6DA78CA}" type="presParOf" srcId="{242BA90A-2D4A-4EB5-9D7C-BE583451537E}" destId="{7CEEBF29-5AE7-46C7-A6FB-6F4C1A8BCD67}" srcOrd="2" destOrd="0" presId="urn:microsoft.com/office/officeart/2008/layout/LinedList"/>
    <dgm:cxn modelId="{FA36B3F2-498B-4943-99F8-AF10363295AF}" type="presParOf" srcId="{15B3E42D-2095-4B3D-88C8-F3C799BFB262}" destId="{1A7B0FC3-A902-461F-835E-2791DEFB044E}" srcOrd="20" destOrd="0" presId="urn:microsoft.com/office/officeart/2008/layout/LinedList"/>
    <dgm:cxn modelId="{85737DF3-50BE-4A64-A7E9-213B59B7694D}" type="presParOf" srcId="{15B3E42D-2095-4B3D-88C8-F3C799BFB262}" destId="{D4880544-E91B-4DC1-BD39-C577914278E7}" srcOrd="21" destOrd="0" presId="urn:microsoft.com/office/officeart/2008/layout/LinedList"/>
    <dgm:cxn modelId="{4CB4F94C-6ADB-4CF9-B3BD-AA72AF1F415B}" type="presParOf" srcId="{15B3E42D-2095-4B3D-88C8-F3C799BFB262}" destId="{7A9778BD-60A0-4705-BE65-171902DBDEB2}" srcOrd="22" destOrd="0" presId="urn:microsoft.com/office/officeart/2008/layout/LinedList"/>
    <dgm:cxn modelId="{ED103CDD-8635-4EDC-B25B-536EA23D995F}" type="presParOf" srcId="{7A9778BD-60A0-4705-BE65-171902DBDEB2}" destId="{75E67220-1C76-4FBA-B244-9DD3D6F58F1B}" srcOrd="0" destOrd="0" presId="urn:microsoft.com/office/officeart/2008/layout/LinedList"/>
    <dgm:cxn modelId="{5003678F-D200-45B3-8ECA-70876EC63F0A}" type="presParOf" srcId="{7A9778BD-60A0-4705-BE65-171902DBDEB2}" destId="{BAB977AA-2230-40A5-A065-A2F8D1B9A8B2}" srcOrd="1" destOrd="0" presId="urn:microsoft.com/office/officeart/2008/layout/LinedList"/>
    <dgm:cxn modelId="{73EFEAE9-BFC7-46DD-81C1-B36708B904A6}" type="presParOf" srcId="{7A9778BD-60A0-4705-BE65-171902DBDEB2}" destId="{58F245DF-CCA3-4B11-A8FF-AC7AD7DB1723}" srcOrd="2" destOrd="0" presId="urn:microsoft.com/office/officeart/2008/layout/LinedList"/>
    <dgm:cxn modelId="{B6305C03-EC62-45F0-9383-CE3C1596572C}" type="presParOf" srcId="{15B3E42D-2095-4B3D-88C8-F3C799BFB262}" destId="{39D7F2DC-E1C3-49B5-8D9D-487F55F9EAF6}" srcOrd="23" destOrd="0" presId="urn:microsoft.com/office/officeart/2008/layout/LinedList"/>
    <dgm:cxn modelId="{4BDE7661-9B24-4C0C-BFC5-77957C8B8D92}" type="presParOf" srcId="{15B3E42D-2095-4B3D-88C8-F3C799BFB262}" destId="{7110367C-F5DB-440F-AA15-D994D5C2A921}" srcOrd="24" destOrd="0" presId="urn:microsoft.com/office/officeart/2008/layout/LinedList"/>
    <dgm:cxn modelId="{44F8E999-FDEE-4859-A75E-5563ACEA8544}" type="presParOf" srcId="{15B3E42D-2095-4B3D-88C8-F3C799BFB262}" destId="{2C55FAAD-164E-42A7-B04E-066E7F8FA9BC}" srcOrd="25" destOrd="0" presId="urn:microsoft.com/office/officeart/2008/layout/LinedList"/>
    <dgm:cxn modelId="{7A9BA136-8D33-43B6-9163-4AAD73BFBA81}" type="presParOf" srcId="{2C55FAAD-164E-42A7-B04E-066E7F8FA9BC}" destId="{86014435-D624-4167-84E3-9A5312FFB3F3}" srcOrd="0" destOrd="0" presId="urn:microsoft.com/office/officeart/2008/layout/LinedList"/>
    <dgm:cxn modelId="{EA9E0313-1E42-40A8-B7EF-BE12EE8D05AA}" type="presParOf" srcId="{2C55FAAD-164E-42A7-B04E-066E7F8FA9BC}" destId="{A7D4C80D-143D-4771-BD6D-75E474873B31}" srcOrd="1" destOrd="0" presId="urn:microsoft.com/office/officeart/2008/layout/LinedList"/>
    <dgm:cxn modelId="{906554BF-EA2B-4079-BE86-C7767A3F18B1}" type="presParOf" srcId="{2C55FAAD-164E-42A7-B04E-066E7F8FA9BC}" destId="{9BFA361B-E5DC-475E-A2A9-30BA62299AB0}" srcOrd="2" destOrd="0" presId="urn:microsoft.com/office/officeart/2008/layout/LinedList"/>
    <dgm:cxn modelId="{E9F7A4F3-78CA-4328-B564-E6BF7749AC00}" type="presParOf" srcId="{15B3E42D-2095-4B3D-88C8-F3C799BFB262}" destId="{565268A7-B3CE-444A-81E5-58A700A2D1ED}" srcOrd="26" destOrd="0" presId="urn:microsoft.com/office/officeart/2008/layout/LinedList"/>
    <dgm:cxn modelId="{D067E830-C1C6-4F95-96F2-ACFE6859F1A9}" type="presParOf" srcId="{15B3E42D-2095-4B3D-88C8-F3C799BFB262}" destId="{FF018F87-EA71-4209-9720-919F33B90CD2}" srcOrd="27" destOrd="0" presId="urn:microsoft.com/office/officeart/2008/layout/LinedList"/>
    <dgm:cxn modelId="{543E642D-0029-480D-A720-CE567FED17BA}" type="presParOf" srcId="{15B3E42D-2095-4B3D-88C8-F3C799BFB262}" destId="{13F0E959-DD30-4E77-897D-3D19F1A2F0EC}" srcOrd="28" destOrd="0" presId="urn:microsoft.com/office/officeart/2008/layout/LinedList"/>
    <dgm:cxn modelId="{ABC03DCE-AB61-4519-86AF-35252D0FB6EF}" type="presParOf" srcId="{13F0E959-DD30-4E77-897D-3D19F1A2F0EC}" destId="{94148F64-3A52-44EC-B13D-13E31E5F6B25}" srcOrd="0" destOrd="0" presId="urn:microsoft.com/office/officeart/2008/layout/LinedList"/>
    <dgm:cxn modelId="{9C509230-5C4F-45E1-975D-A72387831A06}" type="presParOf" srcId="{13F0E959-DD30-4E77-897D-3D19F1A2F0EC}" destId="{D51F6DA9-B9C3-491A-B2B7-BD3C73F4838E}" srcOrd="1" destOrd="0" presId="urn:microsoft.com/office/officeart/2008/layout/LinedList"/>
    <dgm:cxn modelId="{1BC7B58C-6154-4F37-831C-921E3BA844BE}" type="presParOf" srcId="{13F0E959-DD30-4E77-897D-3D19F1A2F0EC}" destId="{B071F3FE-E8F9-4FCE-92A5-7708DF5D8D46}" srcOrd="2" destOrd="0" presId="urn:microsoft.com/office/officeart/2008/layout/LinedList"/>
    <dgm:cxn modelId="{5388AFA1-9E2C-4F2B-B410-610D6663978C}" type="presParOf" srcId="{15B3E42D-2095-4B3D-88C8-F3C799BFB262}" destId="{F071AFC4-885D-441A-BF86-3033BBC102E2}" srcOrd="29" destOrd="0" presId="urn:microsoft.com/office/officeart/2008/layout/LinedList"/>
    <dgm:cxn modelId="{1B9DCAD8-1F6F-40F1-B274-3FFE877D7AC6}" type="presParOf" srcId="{15B3E42D-2095-4B3D-88C8-F3C799BFB262}" destId="{FE12E195-BAB5-4B3B-B719-5A632DECA946}" srcOrd="30" destOrd="0" presId="urn:microsoft.com/office/officeart/2008/layout/LinedList"/>
    <dgm:cxn modelId="{045B8AD9-7239-448F-A15B-FCCC78342EA5}" type="presParOf" srcId="{15B3E42D-2095-4B3D-88C8-F3C799BFB262}" destId="{083D03D3-2B40-43B6-8A01-D72569B5C194}" srcOrd="31" destOrd="0" presId="urn:microsoft.com/office/officeart/2008/layout/LinedList"/>
    <dgm:cxn modelId="{C5E19F86-6037-46AD-8D97-9F9C9633905D}" type="presParOf" srcId="{083D03D3-2B40-43B6-8A01-D72569B5C194}" destId="{DFA54126-9D6D-4E3C-AA97-C9A2CF8FB0AC}" srcOrd="0" destOrd="0" presId="urn:microsoft.com/office/officeart/2008/layout/LinedList"/>
    <dgm:cxn modelId="{C8321BFC-9890-499C-9DBD-5DEA0BD858E8}" type="presParOf" srcId="{083D03D3-2B40-43B6-8A01-D72569B5C194}" destId="{097EB95D-C6C6-46D9-99F0-D2C5E908BD4C}" srcOrd="1" destOrd="0" presId="urn:microsoft.com/office/officeart/2008/layout/LinedList"/>
    <dgm:cxn modelId="{B9314252-2F24-4AD0-B52B-B38260D1FCFD}" type="presParOf" srcId="{083D03D3-2B40-43B6-8A01-D72569B5C194}" destId="{8607AFBB-1497-4541-971A-39A02663CABE}" srcOrd="2" destOrd="0" presId="urn:microsoft.com/office/officeart/2008/layout/LinedList"/>
    <dgm:cxn modelId="{33450940-9A2C-4881-BE39-C17A5B48C576}" type="presParOf" srcId="{15B3E42D-2095-4B3D-88C8-F3C799BFB262}" destId="{955232D2-41F1-4F3C-A660-17EF0F634EE2}" srcOrd="32" destOrd="0" presId="urn:microsoft.com/office/officeart/2008/layout/LinedList"/>
    <dgm:cxn modelId="{2B439995-E0E2-4458-B143-1154FB54D968}" type="presParOf" srcId="{15B3E42D-2095-4B3D-88C8-F3C799BFB262}" destId="{71DFDCD0-AEC8-4E07-A35A-5ACB1B4F4536}" srcOrd="33" destOrd="0" presId="urn:microsoft.com/office/officeart/2008/layout/LinedList"/>
    <dgm:cxn modelId="{3A6BB656-6EA1-4B24-BDFE-D2C924F4BB2D}" type="presParOf" srcId="{15B3E42D-2095-4B3D-88C8-F3C799BFB262}" destId="{63A8F115-75EC-4E93-AF8E-C24583E14D7D}" srcOrd="34" destOrd="0" presId="urn:microsoft.com/office/officeart/2008/layout/LinedList"/>
    <dgm:cxn modelId="{93788133-4A1E-40DA-9A90-2D526ED3B56B}" type="presParOf" srcId="{63A8F115-75EC-4E93-AF8E-C24583E14D7D}" destId="{B5CCF44D-97DA-4160-826B-1CD60E89C3B2}" srcOrd="0" destOrd="0" presId="urn:microsoft.com/office/officeart/2008/layout/LinedList"/>
    <dgm:cxn modelId="{AD4489E3-A3A1-4D7F-A6CB-CFA027E4157E}" type="presParOf" srcId="{63A8F115-75EC-4E93-AF8E-C24583E14D7D}" destId="{C7FE4EF9-D19B-4378-AFE8-69226E51F829}" srcOrd="1" destOrd="0" presId="urn:microsoft.com/office/officeart/2008/layout/LinedList"/>
    <dgm:cxn modelId="{CCCCDAC4-990F-433B-BBA1-9B6C12959665}" type="presParOf" srcId="{63A8F115-75EC-4E93-AF8E-C24583E14D7D}" destId="{32AADE2F-3032-4788-B6E2-AF662784913D}" srcOrd="2" destOrd="0" presId="urn:microsoft.com/office/officeart/2008/layout/LinedList"/>
    <dgm:cxn modelId="{83FF7999-8DE2-4403-BE36-4B1EC12CB3CB}" type="presParOf" srcId="{15B3E42D-2095-4B3D-88C8-F3C799BFB262}" destId="{2AD9158C-17F4-4050-B542-5819266A5A96}" srcOrd="35" destOrd="0" presId="urn:microsoft.com/office/officeart/2008/layout/LinedList"/>
    <dgm:cxn modelId="{053F764B-0F57-4FF8-8C13-7876FB8991A1}" type="presParOf" srcId="{15B3E42D-2095-4B3D-88C8-F3C799BFB262}" destId="{EF2D399D-2F84-4401-AF1E-287D79D8E6C0}" srcOrd="36" destOrd="0" presId="urn:microsoft.com/office/officeart/2008/layout/LinedList"/>
    <dgm:cxn modelId="{27073EE1-5F09-4406-A2CC-F500CD417584}" type="presParOf" srcId="{15B3E42D-2095-4B3D-88C8-F3C799BFB262}" destId="{1372C72B-A6EC-4568-8D65-5EAEFCA01549}" srcOrd="37" destOrd="0" presId="urn:microsoft.com/office/officeart/2008/layout/LinedList"/>
    <dgm:cxn modelId="{01C1E633-E251-4EBD-9867-FB435E4A06C6}" type="presParOf" srcId="{1372C72B-A6EC-4568-8D65-5EAEFCA01549}" destId="{48FB6952-75FB-4207-A2A8-4AADC0C58F34}" srcOrd="0" destOrd="0" presId="urn:microsoft.com/office/officeart/2008/layout/LinedList"/>
    <dgm:cxn modelId="{FB2256E7-6C99-4E7C-A222-231EF694D2EC}" type="presParOf" srcId="{1372C72B-A6EC-4568-8D65-5EAEFCA01549}" destId="{68D9C991-E1DD-488B-A044-6E6EB59EC77E}" srcOrd="1" destOrd="0" presId="urn:microsoft.com/office/officeart/2008/layout/LinedList"/>
    <dgm:cxn modelId="{556DB529-AD68-4738-89C2-9AA7BFCC5183}" type="presParOf" srcId="{1372C72B-A6EC-4568-8D65-5EAEFCA01549}" destId="{DD81D42A-ABCB-42E1-B63A-B6C373218397}" srcOrd="2" destOrd="0" presId="urn:microsoft.com/office/officeart/2008/layout/LinedList"/>
    <dgm:cxn modelId="{347A66AA-79A6-4196-99AB-DB942092FE97}" type="presParOf" srcId="{15B3E42D-2095-4B3D-88C8-F3C799BFB262}" destId="{D46A252E-9E17-49B7-BD6D-C8C4C512067F}" srcOrd="38" destOrd="0" presId="urn:microsoft.com/office/officeart/2008/layout/LinedList"/>
    <dgm:cxn modelId="{5D50D118-51BF-4540-8090-69B57F953697}" type="presParOf" srcId="{15B3E42D-2095-4B3D-88C8-F3C799BFB262}" destId="{5439664A-C527-42AA-A282-FD8A6E667136}" srcOrd="39" destOrd="0" presId="urn:microsoft.com/office/officeart/2008/layout/LinedList"/>
    <dgm:cxn modelId="{1EBDCB10-98A3-49E5-8BBC-64DF07990E83}" type="presParOf" srcId="{15B3E42D-2095-4B3D-88C8-F3C799BFB262}" destId="{8A739457-0022-4E53-BF0C-878E9CB6990A}" srcOrd="40" destOrd="0" presId="urn:microsoft.com/office/officeart/2008/layout/LinedList"/>
    <dgm:cxn modelId="{7804E573-990D-4C56-B84E-B2AE3647F916}" type="presParOf" srcId="{8A739457-0022-4E53-BF0C-878E9CB6990A}" destId="{672CEE13-E5F4-4792-901D-33C7AD316DBD}" srcOrd="0" destOrd="0" presId="urn:microsoft.com/office/officeart/2008/layout/LinedList"/>
    <dgm:cxn modelId="{BFE971E7-0543-4F54-8CB3-FFAED4E43E8A}" type="presParOf" srcId="{8A739457-0022-4E53-BF0C-878E9CB6990A}" destId="{42279700-4326-4C1C-AC08-FB01165246F0}" srcOrd="1" destOrd="0" presId="urn:microsoft.com/office/officeart/2008/layout/LinedList"/>
    <dgm:cxn modelId="{6EF6DAA7-A7BA-4413-B717-33B6740280D5}" type="presParOf" srcId="{8A739457-0022-4E53-BF0C-878E9CB6990A}" destId="{FAA936CC-F4A3-4634-9CF3-4A6E05634400}" srcOrd="2" destOrd="0" presId="urn:microsoft.com/office/officeart/2008/layout/LinedList"/>
    <dgm:cxn modelId="{2059C864-59D7-4D30-A80A-95B97F7FE5E5}" type="presParOf" srcId="{15B3E42D-2095-4B3D-88C8-F3C799BFB262}" destId="{5E5D2AA0-F45C-41B8-81E2-6E25A02DBCE1}" srcOrd="41" destOrd="0" presId="urn:microsoft.com/office/officeart/2008/layout/LinedList"/>
    <dgm:cxn modelId="{137AD02A-523F-4433-A398-FF5E153B0992}" type="presParOf" srcId="{15B3E42D-2095-4B3D-88C8-F3C799BFB262}" destId="{0F5C9B36-AFBF-41FE-9F3E-5389930AAB73}" srcOrd="42" destOrd="0" presId="urn:microsoft.com/office/officeart/2008/layout/LinedList"/>
    <dgm:cxn modelId="{A7BFBA17-F6AF-46C8-B83F-74C37D025574}" type="presParOf" srcId="{15B3E42D-2095-4B3D-88C8-F3C799BFB262}" destId="{A46AA8FB-942D-42AD-8C3C-0B5BB2FC20A3}" srcOrd="43" destOrd="0" presId="urn:microsoft.com/office/officeart/2008/layout/LinedList"/>
    <dgm:cxn modelId="{04A5DCED-C163-41DB-ABB8-9D7CCBF0C57B}" type="presParOf" srcId="{A46AA8FB-942D-42AD-8C3C-0B5BB2FC20A3}" destId="{A43A4507-ADB3-4C30-94F6-40840989E70C}" srcOrd="0" destOrd="0" presId="urn:microsoft.com/office/officeart/2008/layout/LinedList"/>
    <dgm:cxn modelId="{AEB53A23-8184-4FFF-8E56-6D17BC4A6974}" type="presParOf" srcId="{A46AA8FB-942D-42AD-8C3C-0B5BB2FC20A3}" destId="{470DDA8A-E1E7-4D58-83D4-0664E4554317}" srcOrd="1" destOrd="0" presId="urn:microsoft.com/office/officeart/2008/layout/LinedList"/>
    <dgm:cxn modelId="{9574AFCB-0020-4080-BF86-31482130680C}" type="presParOf" srcId="{A46AA8FB-942D-42AD-8C3C-0B5BB2FC20A3}" destId="{58F54863-4489-4C1F-96EA-E62BA4A729DD}" srcOrd="2" destOrd="0" presId="urn:microsoft.com/office/officeart/2008/layout/LinedList"/>
    <dgm:cxn modelId="{58976918-B07E-4A88-A960-0FE596E1E637}" type="presParOf" srcId="{15B3E42D-2095-4B3D-88C8-F3C799BFB262}" destId="{0B879516-173A-42E9-98BF-BE438C8B74A3}" srcOrd="44" destOrd="0" presId="urn:microsoft.com/office/officeart/2008/layout/LinedList"/>
    <dgm:cxn modelId="{18E9BE1E-CA61-4F60-8524-109381F3098E}" type="presParOf" srcId="{15B3E42D-2095-4B3D-88C8-F3C799BFB262}" destId="{14E98684-83E2-49CD-A2BA-B3BE689FC10C}" srcOrd="45" destOrd="0" presId="urn:microsoft.com/office/officeart/2008/layout/LinedList"/>
    <dgm:cxn modelId="{263DE449-347D-41E4-895B-10E5321309B4}" type="presParOf" srcId="{15B3E42D-2095-4B3D-88C8-F3C799BFB262}" destId="{4E5EDBB9-9F38-4DEB-AFE7-9A56A771750A}" srcOrd="46" destOrd="0" presId="urn:microsoft.com/office/officeart/2008/layout/LinedList"/>
    <dgm:cxn modelId="{BB1F07B4-C596-4C13-8B8B-DC10769F3171}" type="presParOf" srcId="{4E5EDBB9-9F38-4DEB-AFE7-9A56A771750A}" destId="{968D9616-3515-4ADC-B61E-C3666717A799}" srcOrd="0" destOrd="0" presId="urn:microsoft.com/office/officeart/2008/layout/LinedList"/>
    <dgm:cxn modelId="{99A050AE-B4F8-49E5-9AF3-C12D2CC50EB3}" type="presParOf" srcId="{4E5EDBB9-9F38-4DEB-AFE7-9A56A771750A}" destId="{B9068812-8053-4B8D-861F-61085E260EB6}" srcOrd="1" destOrd="0" presId="urn:microsoft.com/office/officeart/2008/layout/LinedList"/>
    <dgm:cxn modelId="{B4A27BC9-6F4E-482C-98FF-00D930C44878}" type="presParOf" srcId="{4E5EDBB9-9F38-4DEB-AFE7-9A56A771750A}" destId="{A8CE0C8D-EBAB-4333-AA0C-80BA0E0FED8B}" srcOrd="2" destOrd="0" presId="urn:microsoft.com/office/officeart/2008/layout/LinedList"/>
    <dgm:cxn modelId="{87A71B86-A228-4071-9BD2-8FE540F434B7}" type="presParOf" srcId="{15B3E42D-2095-4B3D-88C8-F3C799BFB262}" destId="{CE350882-3BE1-4A67-89E3-9A01EA4029F0}" srcOrd="47" destOrd="0" presId="urn:microsoft.com/office/officeart/2008/layout/LinedList"/>
    <dgm:cxn modelId="{9C621216-2F8E-401D-9923-996AC1847FB7}" type="presParOf" srcId="{15B3E42D-2095-4B3D-88C8-F3C799BFB262}" destId="{D8FEEC69-DC2F-4B78-B9E4-6F81F91CF3A7}" srcOrd="48" destOrd="0" presId="urn:microsoft.com/office/officeart/2008/layout/LinedList"/>
    <dgm:cxn modelId="{29A68FD1-D239-45DF-9DC7-950C711B5A94}" type="presParOf" srcId="{15B3E42D-2095-4B3D-88C8-F3C799BFB262}" destId="{0ABA67AA-5E8D-420D-AA21-87C2A0A873FF}" srcOrd="49" destOrd="0" presId="urn:microsoft.com/office/officeart/2008/layout/LinedList"/>
    <dgm:cxn modelId="{FEA07CF1-5909-48F5-92B2-B01F258763E8}" type="presParOf" srcId="{0ABA67AA-5E8D-420D-AA21-87C2A0A873FF}" destId="{8F22FF67-A718-4DF7-935E-D977749F8E3D}" srcOrd="0" destOrd="0" presId="urn:microsoft.com/office/officeart/2008/layout/LinedList"/>
    <dgm:cxn modelId="{0D256E3E-E905-4DA3-B81E-2180AF450F34}" type="presParOf" srcId="{0ABA67AA-5E8D-420D-AA21-87C2A0A873FF}" destId="{DC719C65-2ACA-4441-BF96-39F3D3057043}" srcOrd="1" destOrd="0" presId="urn:microsoft.com/office/officeart/2008/layout/LinedList"/>
    <dgm:cxn modelId="{29A40E6A-EF64-4805-B4CD-57D70C9914C7}" type="presParOf" srcId="{0ABA67AA-5E8D-420D-AA21-87C2A0A873FF}" destId="{55C80875-3244-4B71-B100-B1FE8C20D436}" srcOrd="2" destOrd="0" presId="urn:microsoft.com/office/officeart/2008/layout/LinedList"/>
    <dgm:cxn modelId="{C5109E49-FA1F-46FE-8653-50FC8A5D2F23}" type="presParOf" srcId="{15B3E42D-2095-4B3D-88C8-F3C799BFB262}" destId="{79D18533-1F07-40A8-A230-A9301697D18A}" srcOrd="50" destOrd="0" presId="urn:microsoft.com/office/officeart/2008/layout/LinedList"/>
    <dgm:cxn modelId="{597518B2-6955-49AC-B75F-40189E881A11}" type="presParOf" srcId="{15B3E42D-2095-4B3D-88C8-F3C799BFB262}" destId="{3FAB5447-B545-4FEF-9EBC-EA46ACA79918}" srcOrd="5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3C39C6-1448-4880-89FA-CE0493EE8D6D}">
      <dsp:nvSpPr>
        <dsp:cNvPr id="0" name=""/>
        <dsp:cNvSpPr/>
      </dsp:nvSpPr>
      <dsp:spPr>
        <a:xfrm>
          <a:off x="0" y="0"/>
          <a:ext cx="1155078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665F14-F129-4B77-81E3-74A51A8D293F}">
      <dsp:nvSpPr>
        <dsp:cNvPr id="0" name=""/>
        <dsp:cNvSpPr/>
      </dsp:nvSpPr>
      <dsp:spPr>
        <a:xfrm>
          <a:off x="0" y="0"/>
          <a:ext cx="2310156" cy="55384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1930" tIns="201930" rIns="201930" bIns="201930" numCol="1" spcCol="1270" anchor="t" anchorCtr="0">
          <a:noAutofit/>
        </a:bodyPr>
        <a:lstStyle/>
        <a:p>
          <a:pPr lvl="0" algn="l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300" kern="1200" dirty="0"/>
        </a:p>
      </dsp:txBody>
      <dsp:txXfrm>
        <a:off x="0" y="0"/>
        <a:ext cx="2310156" cy="5538462"/>
      </dsp:txXfrm>
    </dsp:sp>
    <dsp:sp modelId="{23109F76-BCD8-421B-B83B-CEE82C12B840}">
      <dsp:nvSpPr>
        <dsp:cNvPr id="0" name=""/>
        <dsp:cNvSpPr/>
      </dsp:nvSpPr>
      <dsp:spPr>
        <a:xfrm>
          <a:off x="2483418" y="15465"/>
          <a:ext cx="9067364" cy="309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 smtClean="0"/>
            <a:t>1. </a:t>
          </a:r>
          <a:r>
            <a:rPr lang="ru-RU" sz="1100" kern="1200" dirty="0" smtClean="0"/>
            <a:t>Мелконян Тигран </a:t>
          </a:r>
          <a:r>
            <a:rPr lang="ru-RU" sz="1100" kern="1200" dirty="0" err="1" smtClean="0"/>
            <a:t>Шагенович</a:t>
          </a:r>
          <a:r>
            <a:rPr lang="ru-RU" sz="700" kern="1200" dirty="0" smtClean="0"/>
            <a:t>, начальник Департамента энергетики Министерства территориального управления и инфраструктур </a:t>
          </a:r>
          <a:r>
            <a:rPr lang="ru-RU" sz="700" b="1" kern="1200" dirty="0" smtClean="0"/>
            <a:t>Республики Армения </a:t>
          </a:r>
          <a:endParaRPr lang="ru-RU" sz="700" b="1" kern="1200" dirty="0"/>
        </a:p>
      </dsp:txBody>
      <dsp:txXfrm>
        <a:off x="2483418" y="15465"/>
        <a:ext cx="9067364" cy="309307"/>
      </dsp:txXfrm>
    </dsp:sp>
    <dsp:sp modelId="{29DFA1C2-3596-4790-843A-BA4810720F90}">
      <dsp:nvSpPr>
        <dsp:cNvPr id="0" name=""/>
        <dsp:cNvSpPr/>
      </dsp:nvSpPr>
      <dsp:spPr>
        <a:xfrm>
          <a:off x="2310156" y="324772"/>
          <a:ext cx="92406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792E326-6D7C-4B68-BCD1-FD1F4F3438D9}">
      <dsp:nvSpPr>
        <dsp:cNvPr id="0" name=""/>
        <dsp:cNvSpPr/>
      </dsp:nvSpPr>
      <dsp:spPr>
        <a:xfrm>
          <a:off x="2483418" y="340238"/>
          <a:ext cx="9067364" cy="309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 smtClean="0"/>
            <a:t>2. </a:t>
          </a:r>
          <a:r>
            <a:rPr lang="ru-RU" sz="1100" kern="1200" dirty="0" err="1" smtClean="0"/>
            <a:t>Варданян</a:t>
          </a:r>
          <a:r>
            <a:rPr lang="ru-RU" sz="1100" kern="1200" dirty="0" smtClean="0"/>
            <a:t> Ашот </a:t>
          </a:r>
          <a:r>
            <a:rPr lang="ru-RU" sz="1100" kern="1200" dirty="0" err="1" smtClean="0"/>
            <a:t>Седракович</a:t>
          </a:r>
          <a:r>
            <a:rPr lang="ru-RU" sz="700" kern="1200" dirty="0" smtClean="0"/>
            <a:t>, начальник отдела лицензирования Комитета по регулированию ядерной безопасности и инфраструктур </a:t>
          </a:r>
          <a:r>
            <a:rPr lang="ru-RU" sz="700" b="1" kern="1200" dirty="0" smtClean="0"/>
            <a:t>Республики Армения</a:t>
          </a:r>
          <a:endParaRPr lang="ru-RU" sz="700" b="1" kern="1200" dirty="0"/>
        </a:p>
      </dsp:txBody>
      <dsp:txXfrm>
        <a:off x="2483418" y="340238"/>
        <a:ext cx="9067364" cy="309307"/>
      </dsp:txXfrm>
    </dsp:sp>
    <dsp:sp modelId="{31796297-F740-417A-9B03-A031BD06ABF0}">
      <dsp:nvSpPr>
        <dsp:cNvPr id="0" name=""/>
        <dsp:cNvSpPr/>
      </dsp:nvSpPr>
      <dsp:spPr>
        <a:xfrm>
          <a:off x="2310156" y="649545"/>
          <a:ext cx="92406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D10D26-AE64-48F0-ACD2-84E8575896BB}">
      <dsp:nvSpPr>
        <dsp:cNvPr id="0" name=""/>
        <dsp:cNvSpPr/>
      </dsp:nvSpPr>
      <dsp:spPr>
        <a:xfrm>
          <a:off x="2483418" y="665010"/>
          <a:ext cx="9067364" cy="309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 smtClean="0"/>
            <a:t>3. </a:t>
          </a:r>
          <a:r>
            <a:rPr lang="ru-RU" sz="1100" kern="1200" dirty="0" err="1" smtClean="0"/>
            <a:t>Зданевич</a:t>
          </a:r>
          <a:r>
            <a:rPr lang="ru-RU" sz="1100" kern="1200" dirty="0" smtClean="0"/>
            <a:t> Надежда Евгеньевна</a:t>
          </a:r>
          <a:r>
            <a:rPr lang="ru-RU" sz="700" kern="1200" dirty="0" smtClean="0"/>
            <a:t>, начальник управления технического сопровождения атомной электростанции ГПО «</a:t>
          </a:r>
          <a:r>
            <a:rPr lang="ru-RU" sz="700" kern="1200" dirty="0" err="1" smtClean="0"/>
            <a:t>Белэнерго</a:t>
          </a:r>
          <a:r>
            <a:rPr lang="ru-RU" sz="700" kern="1200" dirty="0" smtClean="0"/>
            <a:t>», </a:t>
          </a:r>
          <a:r>
            <a:rPr lang="ru-RU" sz="700" b="1" kern="1200" dirty="0" smtClean="0"/>
            <a:t>Республика Беларусь </a:t>
          </a:r>
          <a:endParaRPr lang="ru-RU" sz="700" b="1" kern="1200" dirty="0"/>
        </a:p>
      </dsp:txBody>
      <dsp:txXfrm>
        <a:off x="2483418" y="665010"/>
        <a:ext cx="9067364" cy="309307"/>
      </dsp:txXfrm>
    </dsp:sp>
    <dsp:sp modelId="{D8D1C378-A389-4C84-BEEA-595757790C96}">
      <dsp:nvSpPr>
        <dsp:cNvPr id="0" name=""/>
        <dsp:cNvSpPr/>
      </dsp:nvSpPr>
      <dsp:spPr>
        <a:xfrm>
          <a:off x="2310156" y="974318"/>
          <a:ext cx="92406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F322C9-5E45-4913-AD55-1F3D28D9B19C}">
      <dsp:nvSpPr>
        <dsp:cNvPr id="0" name=""/>
        <dsp:cNvSpPr/>
      </dsp:nvSpPr>
      <dsp:spPr>
        <a:xfrm>
          <a:off x="2483418" y="989783"/>
          <a:ext cx="9067364" cy="309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 smtClean="0"/>
            <a:t>4. </a:t>
          </a:r>
          <a:r>
            <a:rPr lang="ru-RU" sz="1100" kern="1200" dirty="0" err="1" smtClean="0"/>
            <a:t>Мурсалова</a:t>
          </a:r>
          <a:r>
            <a:rPr lang="ru-RU" sz="1100" kern="1200" dirty="0" smtClean="0"/>
            <a:t> </a:t>
          </a:r>
          <a:r>
            <a:rPr lang="ru-RU" sz="1100" kern="1200" dirty="0" err="1" smtClean="0"/>
            <a:t>Гульмира</a:t>
          </a:r>
          <a:r>
            <a:rPr lang="ru-RU" sz="1100" kern="1200" dirty="0" smtClean="0"/>
            <a:t> </a:t>
          </a:r>
          <a:r>
            <a:rPr lang="ru-RU" sz="1100" kern="1200" dirty="0" err="1" smtClean="0"/>
            <a:t>Даутовна</a:t>
          </a:r>
          <a:r>
            <a:rPr lang="ru-RU" sz="700" kern="1200" dirty="0" smtClean="0"/>
            <a:t>, заместитель директора Департамента атомной энергетики и промышленности Министерства энергетики </a:t>
          </a:r>
          <a:r>
            <a:rPr lang="ru-RU" sz="700" b="1" kern="1200" dirty="0" smtClean="0"/>
            <a:t>Республика Казахстан </a:t>
          </a:r>
          <a:endParaRPr lang="ru-RU" sz="700" b="1" kern="1200" dirty="0"/>
        </a:p>
      </dsp:txBody>
      <dsp:txXfrm>
        <a:off x="2483418" y="989783"/>
        <a:ext cx="9067364" cy="309307"/>
      </dsp:txXfrm>
    </dsp:sp>
    <dsp:sp modelId="{D54E7E31-9AA8-45CC-9723-0A92013765A0}">
      <dsp:nvSpPr>
        <dsp:cNvPr id="0" name=""/>
        <dsp:cNvSpPr/>
      </dsp:nvSpPr>
      <dsp:spPr>
        <a:xfrm>
          <a:off x="2310156" y="1299091"/>
          <a:ext cx="92406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2FDF9CB-5C27-4D49-A7FE-754983E1E007}">
      <dsp:nvSpPr>
        <dsp:cNvPr id="0" name=""/>
        <dsp:cNvSpPr/>
      </dsp:nvSpPr>
      <dsp:spPr>
        <a:xfrm>
          <a:off x="2483418" y="1314556"/>
          <a:ext cx="9067364" cy="309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 smtClean="0"/>
            <a:t>5. </a:t>
          </a:r>
          <a:r>
            <a:rPr lang="ru-RU" sz="1100" kern="1200" dirty="0" err="1" smtClean="0"/>
            <a:t>Кабиев</a:t>
          </a:r>
          <a:r>
            <a:rPr lang="ru-RU" sz="1100" kern="1200" dirty="0" smtClean="0"/>
            <a:t> Муса </a:t>
          </a:r>
          <a:r>
            <a:rPr lang="ru-RU" sz="1100" kern="1200" dirty="0" err="1" smtClean="0"/>
            <a:t>Булатулы</a:t>
          </a:r>
          <a:r>
            <a:rPr lang="ru-RU" sz="700" kern="1200" dirty="0" smtClean="0"/>
            <a:t>, руководитель управления контроля материалов и международных гарантий Комитета атомного и энергетического надзора и контроля Министерства энергетики </a:t>
          </a:r>
          <a:r>
            <a:rPr lang="ru-RU" sz="700" b="1" i="0" kern="1200" dirty="0" smtClean="0"/>
            <a:t>Республика Казахстан </a:t>
          </a:r>
          <a:endParaRPr lang="ru-RU" sz="700" b="1" i="0" kern="1200" dirty="0"/>
        </a:p>
      </dsp:txBody>
      <dsp:txXfrm>
        <a:off x="2483418" y="1314556"/>
        <a:ext cx="9067364" cy="309307"/>
      </dsp:txXfrm>
    </dsp:sp>
    <dsp:sp modelId="{07FB3F66-4E73-4C63-BD8D-72C2F1CF1A9F}">
      <dsp:nvSpPr>
        <dsp:cNvPr id="0" name=""/>
        <dsp:cNvSpPr/>
      </dsp:nvSpPr>
      <dsp:spPr>
        <a:xfrm>
          <a:off x="2310156" y="1623863"/>
          <a:ext cx="92406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3D1D17-B3A0-4A9F-A9B6-3E23430E8882}">
      <dsp:nvSpPr>
        <dsp:cNvPr id="0" name=""/>
        <dsp:cNvSpPr/>
      </dsp:nvSpPr>
      <dsp:spPr>
        <a:xfrm>
          <a:off x="2483418" y="1639329"/>
          <a:ext cx="9067364" cy="309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 smtClean="0"/>
            <a:t>6. </a:t>
          </a:r>
          <a:r>
            <a:rPr lang="ru-RU" sz="1100" kern="1200" dirty="0" err="1" smtClean="0"/>
            <a:t>Абдихамитова</a:t>
          </a:r>
          <a:r>
            <a:rPr lang="ru-RU" sz="1100" kern="1200" dirty="0" smtClean="0"/>
            <a:t> Динара </a:t>
          </a:r>
          <a:r>
            <a:rPr lang="ru-RU" sz="1100" kern="1200" dirty="0" err="1" smtClean="0"/>
            <a:t>Копшилбаевна</a:t>
          </a:r>
          <a:r>
            <a:rPr lang="ru-RU" sz="700" kern="1200" dirty="0" smtClean="0"/>
            <a:t>, главный эксперт отдела управления талантами Департамента HR </a:t>
          </a:r>
          <a:r>
            <a:rPr lang="ru-RU" sz="700" kern="1200" dirty="0" err="1" smtClean="0"/>
            <a:t>Казатомпром</a:t>
          </a:r>
          <a:r>
            <a:rPr lang="ru-RU" sz="700" kern="1200" dirty="0" smtClean="0"/>
            <a:t> </a:t>
          </a:r>
          <a:r>
            <a:rPr lang="ru-RU" sz="700" b="1" kern="1200" dirty="0" smtClean="0"/>
            <a:t>Республика Казахстан  </a:t>
          </a:r>
          <a:endParaRPr lang="ru-RU" sz="700" b="1" kern="1200" dirty="0"/>
        </a:p>
      </dsp:txBody>
      <dsp:txXfrm>
        <a:off x="2483418" y="1639329"/>
        <a:ext cx="9067364" cy="309307"/>
      </dsp:txXfrm>
    </dsp:sp>
    <dsp:sp modelId="{DB6CBF62-94D5-4176-92F2-49228F9B953D}">
      <dsp:nvSpPr>
        <dsp:cNvPr id="0" name=""/>
        <dsp:cNvSpPr/>
      </dsp:nvSpPr>
      <dsp:spPr>
        <a:xfrm>
          <a:off x="2310156" y="1948636"/>
          <a:ext cx="92406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61D242E-DE73-4EC2-B888-9F991CA12280}">
      <dsp:nvSpPr>
        <dsp:cNvPr id="0" name=""/>
        <dsp:cNvSpPr/>
      </dsp:nvSpPr>
      <dsp:spPr>
        <a:xfrm>
          <a:off x="2483418" y="1964102"/>
          <a:ext cx="9067364" cy="309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 smtClean="0"/>
            <a:t>7. </a:t>
          </a:r>
          <a:r>
            <a:rPr lang="ru-RU" sz="1100" kern="1200" dirty="0" err="1" smtClean="0"/>
            <a:t>Асанкулов</a:t>
          </a:r>
          <a:r>
            <a:rPr lang="ru-RU" sz="1100" kern="1200" dirty="0" smtClean="0"/>
            <a:t> </a:t>
          </a:r>
          <a:r>
            <a:rPr lang="ru-RU" sz="1100" kern="1200" dirty="0" err="1" smtClean="0"/>
            <a:t>Бакытбек</a:t>
          </a:r>
          <a:r>
            <a:rPr lang="ru-RU" sz="1100" kern="1200" dirty="0" smtClean="0"/>
            <a:t> </a:t>
          </a:r>
          <a:r>
            <a:rPr lang="ru-RU" sz="1100" kern="1200" dirty="0" err="1" smtClean="0"/>
            <a:t>Асанкулович</a:t>
          </a:r>
          <a:r>
            <a:rPr lang="ru-RU" sz="1100" kern="1200" dirty="0" smtClean="0"/>
            <a:t> </a:t>
          </a:r>
          <a:r>
            <a:rPr lang="ru-RU" sz="700" kern="1200" dirty="0" smtClean="0"/>
            <a:t>– начальник отдела радиационной безопасности и контроля ДОСХ при МЧС </a:t>
          </a:r>
          <a:r>
            <a:rPr lang="ru-RU" sz="700" b="1" kern="1200" dirty="0" err="1" smtClean="0"/>
            <a:t>Кыргызской</a:t>
          </a:r>
          <a:r>
            <a:rPr lang="ru-RU" sz="700" b="1" kern="1200" dirty="0" smtClean="0"/>
            <a:t> Республики </a:t>
          </a:r>
          <a:endParaRPr lang="ru-RU" sz="700" b="1" kern="1200" dirty="0"/>
        </a:p>
      </dsp:txBody>
      <dsp:txXfrm>
        <a:off x="2483418" y="1964102"/>
        <a:ext cx="9067364" cy="309307"/>
      </dsp:txXfrm>
    </dsp:sp>
    <dsp:sp modelId="{1A7B0FC3-A902-461F-835E-2791DEFB044E}">
      <dsp:nvSpPr>
        <dsp:cNvPr id="0" name=""/>
        <dsp:cNvSpPr/>
      </dsp:nvSpPr>
      <dsp:spPr>
        <a:xfrm>
          <a:off x="2310156" y="2273409"/>
          <a:ext cx="92406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B977AA-2230-40A5-A065-A2F8D1B9A8B2}">
      <dsp:nvSpPr>
        <dsp:cNvPr id="0" name=""/>
        <dsp:cNvSpPr/>
      </dsp:nvSpPr>
      <dsp:spPr>
        <a:xfrm>
          <a:off x="2483418" y="2288874"/>
          <a:ext cx="9067364" cy="309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 smtClean="0"/>
            <a:t>8. </a:t>
          </a:r>
          <a:r>
            <a:rPr lang="ru-RU" sz="1100" kern="1200" dirty="0" err="1" smtClean="0"/>
            <a:t>Мурзабекова</a:t>
          </a:r>
          <a:r>
            <a:rPr lang="ru-RU" sz="1100" kern="1200" dirty="0" smtClean="0"/>
            <a:t> Алтынай </a:t>
          </a:r>
          <a:r>
            <a:rPr lang="ru-RU" sz="1100" kern="1200" dirty="0" err="1" smtClean="0"/>
            <a:t>Абдыбаитовна</a:t>
          </a:r>
          <a:r>
            <a:rPr lang="ru-RU" sz="1100" kern="1200" dirty="0" smtClean="0"/>
            <a:t> </a:t>
          </a:r>
          <a:r>
            <a:rPr lang="ru-RU" sz="700" kern="1200" dirty="0" smtClean="0"/>
            <a:t>– главный специалист отдела реализации проектов ДОСХ при МЧС </a:t>
          </a:r>
          <a:r>
            <a:rPr lang="ru-RU" sz="700" b="1" kern="1200" dirty="0" err="1" smtClean="0"/>
            <a:t>Кыргызской</a:t>
          </a:r>
          <a:r>
            <a:rPr lang="ru-RU" sz="700" b="1" kern="1200" dirty="0" smtClean="0"/>
            <a:t> Республики</a:t>
          </a:r>
          <a:endParaRPr lang="ru-RU" sz="700" b="1" kern="1200" dirty="0"/>
        </a:p>
      </dsp:txBody>
      <dsp:txXfrm>
        <a:off x="2483418" y="2288874"/>
        <a:ext cx="9067364" cy="309307"/>
      </dsp:txXfrm>
    </dsp:sp>
    <dsp:sp modelId="{39D7F2DC-E1C3-49B5-8D9D-487F55F9EAF6}">
      <dsp:nvSpPr>
        <dsp:cNvPr id="0" name=""/>
        <dsp:cNvSpPr/>
      </dsp:nvSpPr>
      <dsp:spPr>
        <a:xfrm>
          <a:off x="2310156" y="2598182"/>
          <a:ext cx="92406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D4C80D-143D-4771-BD6D-75E474873B31}">
      <dsp:nvSpPr>
        <dsp:cNvPr id="0" name=""/>
        <dsp:cNvSpPr/>
      </dsp:nvSpPr>
      <dsp:spPr>
        <a:xfrm>
          <a:off x="2483418" y="2613647"/>
          <a:ext cx="9067364" cy="309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 smtClean="0"/>
            <a:t>9. </a:t>
          </a:r>
          <a:r>
            <a:rPr lang="ru-RU" sz="1100" kern="1200" dirty="0" err="1" smtClean="0"/>
            <a:t>Халиков</a:t>
          </a:r>
          <a:r>
            <a:rPr lang="ru-RU" sz="1100" kern="1200" dirty="0" smtClean="0"/>
            <a:t> Улугбек </a:t>
          </a:r>
          <a:r>
            <a:rPr lang="ru-RU" sz="1100" kern="1200" dirty="0" err="1" smtClean="0"/>
            <a:t>Аскарович</a:t>
          </a:r>
          <a:r>
            <a:rPr lang="ru-RU" sz="700" kern="1200" dirty="0" smtClean="0"/>
            <a:t>, Государственный комитет по промышленной безопасности </a:t>
          </a:r>
          <a:r>
            <a:rPr lang="ru-RU" sz="700" b="1" kern="1200" dirty="0" smtClean="0"/>
            <a:t>Республики Узбекистан </a:t>
          </a:r>
          <a:endParaRPr lang="ru-RU" sz="700" b="1" kern="1200" dirty="0"/>
        </a:p>
      </dsp:txBody>
      <dsp:txXfrm>
        <a:off x="2483418" y="2613647"/>
        <a:ext cx="9067364" cy="309307"/>
      </dsp:txXfrm>
    </dsp:sp>
    <dsp:sp modelId="{565268A7-B3CE-444A-81E5-58A700A2D1ED}">
      <dsp:nvSpPr>
        <dsp:cNvPr id="0" name=""/>
        <dsp:cNvSpPr/>
      </dsp:nvSpPr>
      <dsp:spPr>
        <a:xfrm>
          <a:off x="2310156" y="2922955"/>
          <a:ext cx="92406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1F6DA9-B9C3-491A-B2B7-BD3C73F4838E}">
      <dsp:nvSpPr>
        <dsp:cNvPr id="0" name=""/>
        <dsp:cNvSpPr/>
      </dsp:nvSpPr>
      <dsp:spPr>
        <a:xfrm>
          <a:off x="2483418" y="2938420"/>
          <a:ext cx="9067364" cy="309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 smtClean="0"/>
            <a:t>10. </a:t>
          </a:r>
          <a:r>
            <a:rPr lang="ru-RU" sz="1100" kern="1200" dirty="0" smtClean="0"/>
            <a:t>Беляков Андрей Александрович</a:t>
          </a:r>
          <a:r>
            <a:rPr lang="ru-RU" sz="700" kern="1200" dirty="0" smtClean="0"/>
            <a:t>, директор Департамента международного сотрудничества </a:t>
          </a:r>
          <a:r>
            <a:rPr lang="ru-RU" sz="700" kern="1200" dirty="0" err="1" smtClean="0"/>
            <a:t>Госкорпорации</a:t>
          </a:r>
          <a:r>
            <a:rPr lang="ru-RU" sz="700" kern="1200" dirty="0" smtClean="0"/>
            <a:t> «</a:t>
          </a:r>
          <a:r>
            <a:rPr lang="ru-RU" sz="700" kern="1200" dirty="0" err="1" smtClean="0"/>
            <a:t>Росатом</a:t>
          </a:r>
          <a:r>
            <a:rPr lang="ru-RU" sz="700" kern="1200" dirty="0" smtClean="0"/>
            <a:t>» </a:t>
          </a:r>
          <a:endParaRPr lang="ru-RU" sz="700" kern="1200" dirty="0"/>
        </a:p>
      </dsp:txBody>
      <dsp:txXfrm>
        <a:off x="2483418" y="2938420"/>
        <a:ext cx="9067364" cy="309307"/>
      </dsp:txXfrm>
    </dsp:sp>
    <dsp:sp modelId="{F071AFC4-885D-441A-BF86-3033BBC102E2}">
      <dsp:nvSpPr>
        <dsp:cNvPr id="0" name=""/>
        <dsp:cNvSpPr/>
      </dsp:nvSpPr>
      <dsp:spPr>
        <a:xfrm>
          <a:off x="2310156" y="3247727"/>
          <a:ext cx="92406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7EB95D-C6C6-46D9-99F0-D2C5E908BD4C}">
      <dsp:nvSpPr>
        <dsp:cNvPr id="0" name=""/>
        <dsp:cNvSpPr/>
      </dsp:nvSpPr>
      <dsp:spPr>
        <a:xfrm>
          <a:off x="2483418" y="3263193"/>
          <a:ext cx="9067364" cy="309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 smtClean="0"/>
            <a:t>11. </a:t>
          </a:r>
          <a:r>
            <a:rPr lang="ru-RU" sz="1100" kern="1200" dirty="0" smtClean="0"/>
            <a:t>Зацепа Елизавета Игоревна</a:t>
          </a:r>
          <a:r>
            <a:rPr lang="ru-RU" sz="700" kern="1200" dirty="0" smtClean="0"/>
            <a:t>, руководитель направления Департамента коммуникационных проектов,  Частное учреждение «</a:t>
          </a:r>
          <a:r>
            <a:rPr lang="ru-RU" sz="700" kern="1200" dirty="0" err="1" smtClean="0"/>
            <a:t>Русатом</a:t>
          </a:r>
          <a:r>
            <a:rPr lang="ru-RU" sz="700" kern="1200" dirty="0" smtClean="0"/>
            <a:t> Международная Сеть» </a:t>
          </a:r>
          <a:endParaRPr lang="ru-RU" sz="700" kern="1200" dirty="0"/>
        </a:p>
      </dsp:txBody>
      <dsp:txXfrm>
        <a:off x="2483418" y="3263193"/>
        <a:ext cx="9067364" cy="309307"/>
      </dsp:txXfrm>
    </dsp:sp>
    <dsp:sp modelId="{955232D2-41F1-4F3C-A660-17EF0F634EE2}">
      <dsp:nvSpPr>
        <dsp:cNvPr id="0" name=""/>
        <dsp:cNvSpPr/>
      </dsp:nvSpPr>
      <dsp:spPr>
        <a:xfrm>
          <a:off x="2310156" y="3572500"/>
          <a:ext cx="92406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7FE4EF9-D19B-4378-AFE8-69226E51F829}">
      <dsp:nvSpPr>
        <dsp:cNvPr id="0" name=""/>
        <dsp:cNvSpPr/>
      </dsp:nvSpPr>
      <dsp:spPr>
        <a:xfrm>
          <a:off x="2483418" y="3587966"/>
          <a:ext cx="9067364" cy="309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 smtClean="0"/>
            <a:t>12. </a:t>
          </a:r>
          <a:r>
            <a:rPr lang="ru-RU" sz="1100" kern="1200" dirty="0" smtClean="0"/>
            <a:t>Самохин Дмитрий Сергеевич</a:t>
          </a:r>
          <a:r>
            <a:rPr lang="ru-RU" sz="700" kern="1200" dirty="0" smtClean="0"/>
            <a:t>, начальник отделения ядерной физики и технологий ИАТЭ НИЯУ МИФИ</a:t>
          </a:r>
          <a:endParaRPr lang="ru-RU" sz="700" kern="1200" dirty="0"/>
        </a:p>
      </dsp:txBody>
      <dsp:txXfrm>
        <a:off x="2483418" y="3587966"/>
        <a:ext cx="9067364" cy="309307"/>
      </dsp:txXfrm>
    </dsp:sp>
    <dsp:sp modelId="{2AD9158C-17F4-4050-B542-5819266A5A96}">
      <dsp:nvSpPr>
        <dsp:cNvPr id="0" name=""/>
        <dsp:cNvSpPr/>
      </dsp:nvSpPr>
      <dsp:spPr>
        <a:xfrm>
          <a:off x="2310156" y="3897273"/>
          <a:ext cx="92406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8D9C991-E1DD-488B-A044-6E6EB59EC77E}">
      <dsp:nvSpPr>
        <dsp:cNvPr id="0" name=""/>
        <dsp:cNvSpPr/>
      </dsp:nvSpPr>
      <dsp:spPr>
        <a:xfrm>
          <a:off x="2483418" y="3912738"/>
          <a:ext cx="9067364" cy="309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 smtClean="0"/>
            <a:t>13. </a:t>
          </a:r>
          <a:r>
            <a:rPr lang="ru-RU" sz="1100" kern="1200" dirty="0" smtClean="0"/>
            <a:t>Верхотурова Вера Викторовна</a:t>
          </a:r>
          <a:r>
            <a:rPr lang="ru-RU" sz="700" kern="1200" dirty="0" smtClean="0"/>
            <a:t>, и. о</a:t>
          </a:r>
          <a:r>
            <a:rPr lang="ru-RU" sz="700" kern="1200" smtClean="0"/>
            <a:t>. заведующего </a:t>
          </a:r>
          <a:r>
            <a:rPr lang="ru-RU" sz="700" kern="1200" dirty="0" smtClean="0"/>
            <a:t>кафедрой – руководитель Научно-образовательного центра международного ядерного образования и карьерного сопровождения иностранных студентов, Инженерная школа ядерных технологий, Томский политехнический университет</a:t>
          </a:r>
          <a:endParaRPr lang="ru-RU" sz="700" kern="1200" dirty="0"/>
        </a:p>
      </dsp:txBody>
      <dsp:txXfrm>
        <a:off x="2483418" y="3912738"/>
        <a:ext cx="9067364" cy="309307"/>
      </dsp:txXfrm>
    </dsp:sp>
    <dsp:sp modelId="{D46A252E-9E17-49B7-BD6D-C8C4C512067F}">
      <dsp:nvSpPr>
        <dsp:cNvPr id="0" name=""/>
        <dsp:cNvSpPr/>
      </dsp:nvSpPr>
      <dsp:spPr>
        <a:xfrm>
          <a:off x="2310156" y="4222046"/>
          <a:ext cx="92406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279700-4326-4C1C-AC08-FB01165246F0}">
      <dsp:nvSpPr>
        <dsp:cNvPr id="0" name=""/>
        <dsp:cNvSpPr/>
      </dsp:nvSpPr>
      <dsp:spPr>
        <a:xfrm>
          <a:off x="2483418" y="4237511"/>
          <a:ext cx="9067364" cy="309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14. </a:t>
          </a:r>
          <a:r>
            <a:rPr lang="ru-RU" sz="1100" kern="1200" dirty="0" err="1" smtClean="0"/>
            <a:t>Древнов</a:t>
          </a:r>
          <a:r>
            <a:rPr lang="ru-RU" sz="1100" kern="1200" dirty="0" smtClean="0"/>
            <a:t> Олег Васильевич</a:t>
          </a:r>
          <a:r>
            <a:rPr lang="ru-RU" sz="800" kern="1200" dirty="0" smtClean="0"/>
            <a:t>, лидер экспертизы по компетенции «Радиационный контроль» чемпионата </a:t>
          </a:r>
          <a:r>
            <a:rPr lang="ru-RU" sz="800" kern="1200" dirty="0" err="1" smtClean="0"/>
            <a:t>AtomSkills</a:t>
          </a:r>
          <a:r>
            <a:rPr lang="ru-RU" sz="800" kern="1200" dirty="0" smtClean="0"/>
            <a:t>, инженер по радиационной безопасности 1 кат., ФГУП «ПО МАЯК»</a:t>
          </a:r>
          <a:endParaRPr lang="ru-RU" sz="800" kern="1200" dirty="0"/>
        </a:p>
      </dsp:txBody>
      <dsp:txXfrm>
        <a:off x="2483418" y="4237511"/>
        <a:ext cx="9067364" cy="309307"/>
      </dsp:txXfrm>
    </dsp:sp>
    <dsp:sp modelId="{5E5D2AA0-F45C-41B8-81E2-6E25A02DBCE1}">
      <dsp:nvSpPr>
        <dsp:cNvPr id="0" name=""/>
        <dsp:cNvSpPr/>
      </dsp:nvSpPr>
      <dsp:spPr>
        <a:xfrm>
          <a:off x="2310156" y="4546819"/>
          <a:ext cx="92406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0DDA8A-E1E7-4D58-83D4-0664E4554317}">
      <dsp:nvSpPr>
        <dsp:cNvPr id="0" name=""/>
        <dsp:cNvSpPr/>
      </dsp:nvSpPr>
      <dsp:spPr>
        <a:xfrm>
          <a:off x="2483418" y="4562284"/>
          <a:ext cx="9067364" cy="309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15. </a:t>
          </a:r>
          <a:r>
            <a:rPr lang="ru-RU" sz="1100" kern="1200" dirty="0" smtClean="0"/>
            <a:t>Агафонов Денис Николаевич</a:t>
          </a:r>
          <a:r>
            <a:rPr lang="ru-RU" sz="800" kern="1200" dirty="0" smtClean="0"/>
            <a:t>, эксперт Центра "Новая атомная энергетика", Московский филиал АНО ДПО «Техническая академия </a:t>
          </a:r>
          <a:r>
            <a:rPr lang="ru-RU" sz="800" kern="1200" dirty="0" err="1" smtClean="0"/>
            <a:t>Росатома</a:t>
          </a:r>
          <a:r>
            <a:rPr lang="ru-RU" sz="800" kern="1200" dirty="0" smtClean="0"/>
            <a:t>»</a:t>
          </a:r>
          <a:endParaRPr lang="ru-RU" sz="800" kern="1200" dirty="0"/>
        </a:p>
      </dsp:txBody>
      <dsp:txXfrm>
        <a:off x="2483418" y="4562284"/>
        <a:ext cx="9067364" cy="309307"/>
      </dsp:txXfrm>
    </dsp:sp>
    <dsp:sp modelId="{0B879516-173A-42E9-98BF-BE438C8B74A3}">
      <dsp:nvSpPr>
        <dsp:cNvPr id="0" name=""/>
        <dsp:cNvSpPr/>
      </dsp:nvSpPr>
      <dsp:spPr>
        <a:xfrm>
          <a:off x="2310156" y="4871591"/>
          <a:ext cx="92406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068812-8053-4B8D-861F-61085E260EB6}">
      <dsp:nvSpPr>
        <dsp:cNvPr id="0" name=""/>
        <dsp:cNvSpPr/>
      </dsp:nvSpPr>
      <dsp:spPr>
        <a:xfrm>
          <a:off x="2483418" y="4887057"/>
          <a:ext cx="9067364" cy="309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16. </a:t>
          </a:r>
          <a:r>
            <a:rPr lang="ru-RU" sz="1100" kern="1200" dirty="0" smtClean="0"/>
            <a:t>Антонов Александр Владимирович</a:t>
          </a:r>
          <a:r>
            <a:rPr lang="ru-RU" sz="800" kern="1200" dirty="0" smtClean="0"/>
            <a:t>, главный эксперт Международного центра подготовки персонала АС, д.т.н., профессор, АНО ДПО «Техническая Академия </a:t>
          </a:r>
          <a:r>
            <a:rPr lang="ru-RU" sz="800" kern="1200" dirty="0" err="1" smtClean="0"/>
            <a:t>Росатома</a:t>
          </a:r>
          <a:r>
            <a:rPr lang="ru-RU" sz="800" kern="1200" dirty="0" smtClean="0"/>
            <a:t>»</a:t>
          </a:r>
          <a:endParaRPr lang="ru-RU" sz="800" kern="1200" dirty="0"/>
        </a:p>
      </dsp:txBody>
      <dsp:txXfrm>
        <a:off x="2483418" y="4887057"/>
        <a:ext cx="9067364" cy="309307"/>
      </dsp:txXfrm>
    </dsp:sp>
    <dsp:sp modelId="{CE350882-3BE1-4A67-89E3-9A01EA4029F0}">
      <dsp:nvSpPr>
        <dsp:cNvPr id="0" name=""/>
        <dsp:cNvSpPr/>
      </dsp:nvSpPr>
      <dsp:spPr>
        <a:xfrm>
          <a:off x="2310156" y="5196364"/>
          <a:ext cx="92406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719C65-2ACA-4441-BF96-39F3D3057043}">
      <dsp:nvSpPr>
        <dsp:cNvPr id="0" name=""/>
        <dsp:cNvSpPr/>
      </dsp:nvSpPr>
      <dsp:spPr>
        <a:xfrm>
          <a:off x="2483418" y="5211829"/>
          <a:ext cx="9067364" cy="3093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17. </a:t>
          </a:r>
          <a:r>
            <a:rPr lang="ru-RU" sz="1100" kern="1200" dirty="0" smtClean="0"/>
            <a:t>Алёшина Алёна Сергеевна</a:t>
          </a:r>
          <a:r>
            <a:rPr lang="ru-RU" sz="800" kern="1200" dirty="0" smtClean="0"/>
            <a:t>, директор Высшей школы энергетического машиностроения Института энергетики Санкт-Петербургского политехнического университета Петра Великого</a:t>
          </a:r>
          <a:endParaRPr lang="ru-RU" sz="800" kern="1200" dirty="0"/>
        </a:p>
      </dsp:txBody>
      <dsp:txXfrm>
        <a:off x="2483418" y="5211829"/>
        <a:ext cx="9067364" cy="309307"/>
      </dsp:txXfrm>
    </dsp:sp>
    <dsp:sp modelId="{79D18533-1F07-40A8-A230-A9301697D18A}">
      <dsp:nvSpPr>
        <dsp:cNvPr id="0" name=""/>
        <dsp:cNvSpPr/>
      </dsp:nvSpPr>
      <dsp:spPr>
        <a:xfrm>
          <a:off x="2310156" y="5521137"/>
          <a:ext cx="92406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8784</cdr:x>
      <cdr:y>0.29277</cdr:y>
    </cdr:from>
    <cdr:to>
      <cdr:x>0.92792</cdr:x>
      <cdr:y>0.4142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656020" y="1780217"/>
          <a:ext cx="3682521" cy="73866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862" b="0" i="0" u="none" strike="noStrike" kern="1200" spc="0" baseline="0">
              <a:solidFill>
                <a:prstClr val="black">
                  <a:lumMod val="65000"/>
                  <a:lumOff val="35000"/>
                </a:prstClr>
              </a:solidFill>
              <a:latin typeface="+mn-lt"/>
              <a:ea typeface="+mn-ea"/>
              <a:cs typeface="+mn-cs"/>
            </a:defRPr>
          </a:pPr>
          <a:r>
            <a:rPr lang="ru-RU" sz="1400" b="1" dirty="0" smtClean="0">
              <a:solidFill>
                <a:schemeClr val="tx1">
                  <a:lumMod val="65000"/>
                  <a:lumOff val="35000"/>
                </a:schemeClr>
              </a:solidFill>
              <a:latin typeface="Rosatom" panose="020B0503040504020204"/>
              <a:cs typeface="Arial" panose="020B0604020202020204" pitchFamily="34" charset="0"/>
            </a:rPr>
            <a:t>Количество заявителей по направлениям </a:t>
          </a:r>
          <a:r>
            <a:rPr lang="ru-RU" sz="1400" b="1" dirty="0" smtClean="0">
              <a:solidFill>
                <a:schemeClr val="tx1">
                  <a:lumMod val="65000"/>
                  <a:lumOff val="35000"/>
                </a:schemeClr>
              </a:solidFill>
              <a:latin typeface="Rosatom" panose="020B0503040504020204"/>
              <a:cs typeface="Arial" panose="020B0604020202020204" pitchFamily="34" charset="0"/>
            </a:rPr>
            <a:t>подготовки полуфиналистов</a:t>
          </a:r>
          <a:endParaRPr lang="ru-RU" sz="1400" b="1" dirty="0">
            <a:solidFill>
              <a:schemeClr val="tx1">
                <a:lumMod val="65000"/>
                <a:lumOff val="35000"/>
              </a:schemeClr>
            </a:solidFill>
            <a:latin typeface="Rosatom" panose="020B0503040504020204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</cdr:x>
      <cdr:y>0.09906</cdr:y>
    </cdr:from>
    <cdr:to>
      <cdr:x>1</cdr:x>
      <cdr:y>0.27622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-6848019" y="602327"/>
          <a:ext cx="5753220" cy="10772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just" defTabSz="1217585">
            <a:lnSpc>
              <a:spcPct val="100000"/>
            </a:lnSpc>
            <a:spcBef>
              <a:spcPts val="0"/>
            </a:spcBef>
            <a:defRPr/>
          </a:pPr>
          <a:r>
            <a:rPr lang="ru-RU" sz="1600" b="1" kern="0" dirty="0" smtClean="0">
              <a:solidFill>
                <a:schemeClr val="accent1">
                  <a:lumMod val="50000"/>
                </a:schemeClr>
              </a:solidFill>
              <a:latin typeface="Rosatom" panose="020B0503040504020204" pitchFamily="34" charset="-52"/>
              <a:ea typeface="Rosatom" panose="020B0503040504020204" pitchFamily="34" charset="-52"/>
              <a:cs typeface="Arial Regular" pitchFamily="34" charset="-120"/>
            </a:rPr>
            <a:t>По </a:t>
          </a:r>
          <a:r>
            <a:rPr lang="ru-RU" sz="1600" b="1" kern="0" dirty="0">
              <a:solidFill>
                <a:schemeClr val="accent1">
                  <a:lumMod val="50000"/>
                </a:schemeClr>
              </a:solidFill>
              <a:latin typeface="Rosatom" panose="020B0503040504020204" pitchFamily="34" charset="-52"/>
              <a:ea typeface="Rosatom" panose="020B0503040504020204" pitchFamily="34" charset="-52"/>
              <a:cs typeface="Arial Regular" pitchFamily="34" charset="-120"/>
            </a:rPr>
            <a:t>итогу информационной кампании </a:t>
          </a:r>
        </a:p>
        <a:p xmlns:a="http://schemas.openxmlformats.org/drawingml/2006/main">
          <a:pPr algn="just" defTabSz="1217585">
            <a:lnSpc>
              <a:spcPct val="100000"/>
            </a:lnSpc>
            <a:spcBef>
              <a:spcPts val="0"/>
            </a:spcBef>
            <a:defRPr/>
          </a:pPr>
          <a:r>
            <a:rPr lang="ru-RU" sz="1600" b="1" kern="0" dirty="0">
              <a:solidFill>
                <a:schemeClr val="accent1">
                  <a:lumMod val="50000"/>
                </a:schemeClr>
              </a:solidFill>
              <a:latin typeface="Rosatom" panose="020B0503040504020204" pitchFamily="34" charset="-52"/>
              <a:ea typeface="Rosatom" panose="020B0503040504020204" pitchFamily="34" charset="-52"/>
              <a:cs typeface="Arial Regular" pitchFamily="34" charset="-120"/>
            </a:rPr>
            <a:t>получено 28 заявок  </a:t>
          </a:r>
        </a:p>
        <a:p xmlns:a="http://schemas.openxmlformats.org/drawingml/2006/main">
          <a:pPr algn="just" defTabSz="1217585">
            <a:lnSpc>
              <a:spcPct val="100000"/>
            </a:lnSpc>
            <a:spcBef>
              <a:spcPts val="0"/>
            </a:spcBef>
            <a:defRPr/>
          </a:pPr>
          <a:r>
            <a:rPr lang="ru-RU" sz="1600" b="1" kern="0" dirty="0">
              <a:solidFill>
                <a:schemeClr val="accent1">
                  <a:lumMod val="50000"/>
                </a:schemeClr>
              </a:solidFill>
              <a:latin typeface="Rosatom" panose="020B0503040504020204" pitchFamily="34" charset="-52"/>
              <a:ea typeface="Rosatom" panose="020B0503040504020204" pitchFamily="34" charset="-52"/>
              <a:cs typeface="Arial Regular" pitchFamily="34" charset="-120"/>
            </a:rPr>
            <a:t>Конкурс </a:t>
          </a:r>
          <a:r>
            <a:rPr lang="ru-RU" sz="1600" b="1" kern="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ea typeface="Rosatom" panose="020B0503040504020204" pitchFamily="34" charset="-52"/>
              <a:cs typeface="Times New Roman" panose="02020603050405020304" pitchFamily="18" charset="0"/>
            </a:rPr>
            <a:t>~3</a:t>
          </a:r>
          <a:r>
            <a:rPr lang="ru-RU" sz="1600" b="1" kern="0" dirty="0">
              <a:solidFill>
                <a:schemeClr val="accent1">
                  <a:lumMod val="50000"/>
                </a:schemeClr>
              </a:solidFill>
              <a:latin typeface="Rosatom" panose="020B0503040504020204" pitchFamily="34" charset="-52"/>
              <a:ea typeface="Rosatom" panose="020B0503040504020204" pitchFamily="34" charset="-52"/>
              <a:cs typeface="Arial Regular" pitchFamily="34" charset="-120"/>
            </a:rPr>
            <a:t> человека на </a:t>
          </a:r>
          <a:r>
            <a:rPr lang="ru-RU" sz="1600" b="1" kern="0" dirty="0" smtClean="0">
              <a:solidFill>
                <a:schemeClr val="accent1">
                  <a:lumMod val="50000"/>
                </a:schemeClr>
              </a:solidFill>
              <a:latin typeface="Rosatom" panose="020B0503040504020204" pitchFamily="34" charset="-52"/>
              <a:ea typeface="Rosatom" panose="020B0503040504020204" pitchFamily="34" charset="-52"/>
              <a:cs typeface="Arial Regular" pitchFamily="34" charset="-120"/>
            </a:rPr>
            <a:t>место</a:t>
          </a:r>
        </a:p>
        <a:p xmlns:a="http://schemas.openxmlformats.org/drawingml/2006/main">
          <a:pPr algn="just" defTabSz="1217585">
            <a:lnSpc>
              <a:spcPct val="100000"/>
            </a:lnSpc>
            <a:spcBef>
              <a:spcPts val="0"/>
            </a:spcBef>
            <a:defRPr/>
          </a:pPr>
          <a:endParaRPr lang="ru-RU" sz="1600" b="1" kern="0" dirty="0">
            <a:solidFill>
              <a:schemeClr val="accent1">
                <a:lumMod val="50000"/>
              </a:schemeClr>
            </a:solidFill>
            <a:latin typeface="Rosatom" panose="020B0503040504020204" pitchFamily="34" charset="-52"/>
            <a:ea typeface="Rosatom" panose="020B0503040504020204" pitchFamily="34" charset="-52"/>
            <a:cs typeface="Arial Regular" pitchFamily="34" charset="-12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</cdr:x>
      <cdr:y>0.16835</cdr:y>
    </cdr:from>
    <cdr:to>
      <cdr:x>0.5</cdr:x>
      <cdr:y>0.43802</cdr:y>
    </cdr:to>
    <cdr:cxnSp macro="">
      <cdr:nvCxnSpPr>
        <cdr:cNvPr id="3" name="Прямая соединительная линия 2"/>
        <cdr:cNvCxnSpPr/>
      </cdr:nvCxnSpPr>
      <cdr:spPr>
        <a:xfrm xmlns:a="http://schemas.openxmlformats.org/drawingml/2006/main">
          <a:off x="2060949" y="500100"/>
          <a:ext cx="0" cy="801103"/>
        </a:xfrm>
        <a:prstGeom xmlns:a="http://schemas.openxmlformats.org/drawingml/2006/main" prst="line">
          <a:avLst/>
        </a:prstGeom>
        <a:ln xmlns:a="http://schemas.openxmlformats.org/drawingml/2006/main" w="28575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1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9B8972-10A8-4DEC-9AD4-2DFBF3171F64}" type="datetimeFigureOut">
              <a:rPr lang="ru-RU" smtClean="0"/>
              <a:t>28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50850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77195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428584"/>
            <a:ext cx="2971800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966D4-AA62-470A-8629-AC0BAE7FA9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98975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Уточнить критерии</a:t>
            </a:r>
            <a:r>
              <a:rPr lang="ru-RU" baseline="0" dirty="0" smtClean="0"/>
              <a:t> сохранения стипендии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0B7F-3432-4DBE-B821-B38A127FB2D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57373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>
          <a:xfrm>
            <a:off x="624454" y="5557757"/>
            <a:ext cx="3715423" cy="754742"/>
          </a:xfrm>
          <a:prstGeom prst="rect">
            <a:avLst/>
          </a:prstGeom>
        </p:spPr>
        <p:txBody>
          <a:bodyPr vert="horz" lIns="132433" tIns="66217" rIns="132433" bIns="66217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ru-RU" sz="1865" b="1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амилия Имя Отчество</a:t>
            </a:r>
          </a:p>
          <a:p>
            <a:pPr>
              <a:spcBef>
                <a:spcPct val="0"/>
              </a:spcBef>
            </a:pPr>
            <a:r>
              <a:rPr lang="ru-RU" sz="1865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573502" y="2680007"/>
            <a:ext cx="5906541" cy="1328235"/>
          </a:xfrm>
          <a:prstGeom prst="rect">
            <a:avLst/>
          </a:prstGeom>
        </p:spPr>
        <p:txBody>
          <a:bodyPr vert="horz" lIns="132433" tIns="66217" rIns="132433" bIns="66217" rtlCol="0" anchor="ctr">
            <a:noAutofit/>
          </a:bodyPr>
          <a:lstStyle/>
          <a:p>
            <a:pPr>
              <a:lnSpc>
                <a:spcPts val="5035"/>
              </a:lnSpc>
            </a:pPr>
            <a:r>
              <a:rPr lang="ru-RU" sz="3597" b="1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Тема </a:t>
            </a:r>
          </a:p>
          <a:p>
            <a:pPr>
              <a:lnSpc>
                <a:spcPts val="5035"/>
              </a:lnSpc>
            </a:pPr>
            <a:r>
              <a:rPr lang="ru-RU" sz="3597" b="1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резентации</a:t>
            </a: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623392" y="4871301"/>
            <a:ext cx="6515400" cy="754742"/>
          </a:xfrm>
          <a:prstGeom prst="rect">
            <a:avLst/>
          </a:prstGeom>
        </p:spPr>
        <p:txBody>
          <a:bodyPr vert="horz" lIns="132433" tIns="66217" rIns="132433" bIns="66217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ru-RU" sz="1865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Наименование мероприятия</a:t>
            </a:r>
            <a:r>
              <a:rPr lang="en-US" sz="1865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ru-RU" sz="1865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/</a:t>
            </a:r>
            <a:r>
              <a:rPr lang="en-US" sz="1865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ru-RU" sz="1865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название площадки</a:t>
            </a:r>
          </a:p>
        </p:txBody>
      </p:sp>
    </p:spTree>
    <p:extLst>
      <p:ext uri="{BB962C8B-B14F-4D97-AF65-F5344CB8AC3E}">
        <p14:creationId xmlns:p14="http://schemas.microsoft.com/office/powerpoint/2010/main" val="55164234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23963112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0" y="1556793"/>
            <a:ext cx="10972800" cy="1353789"/>
          </a:xfrm>
        </p:spPr>
        <p:txBody>
          <a:bodyPr/>
          <a:lstStyle>
            <a:lvl1pPr>
              <a:defRPr sz="2099" b="1"/>
            </a:lvl1pPr>
            <a:lvl2pPr>
              <a:defRPr sz="1800"/>
            </a:lvl2pPr>
            <a:lvl3pPr>
              <a:defRPr>
                <a:latin typeface="Calibri" panose="020F0502020204030204" pitchFamily="34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72243" y="243384"/>
            <a:ext cx="10593467" cy="415433"/>
          </a:xfrm>
        </p:spPr>
        <p:txBody>
          <a:bodyPr/>
          <a:lstStyle>
            <a:lvl1pPr>
              <a:defRPr sz="27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970922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с логотип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10840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5828E19-F354-DF47-B066-E5BD574211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56B1F84-3D3A-5E96-A47F-74833F5685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025" y="296862"/>
            <a:ext cx="8423625" cy="431801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lang="ru-RU" sz="18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8990194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заголовком без логотип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5828E19-F354-DF47-B066-E5BD574211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E812838A-772D-28AE-DDDD-F460B8604E60}"/>
              </a:ext>
            </a:extLst>
          </p:cNvPr>
          <p:cNvSpPr/>
          <p:nvPr userDrawn="1"/>
        </p:nvSpPr>
        <p:spPr>
          <a:xfrm>
            <a:off x="9293290" y="158620"/>
            <a:ext cx="2453951" cy="6531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2701FBD-BD5D-AA63-B9BF-2DB3D16DB5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025" y="296862"/>
            <a:ext cx="8423625" cy="431801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lang="ru-RU" sz="18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3132421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екоративная нумерац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EB76A479-9EB9-9149-A87E-B656862594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43138" y="1828676"/>
            <a:ext cx="2808287" cy="17082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3E21428-F1A9-1C47-B189-1F00230510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7315" y="1683042"/>
            <a:ext cx="956685" cy="731367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CF731511-FB7E-7045-BEF7-6ACE24889B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0478" y="3960306"/>
            <a:ext cx="2808287" cy="17372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824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336803-30F9-AA4B-BD57-607EB2BB91D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7315" y="3833311"/>
            <a:ext cx="956685" cy="731367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02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7DC13605-8615-5F47-9E23-21BCFF9270B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863656" y="1828676"/>
            <a:ext cx="2808287" cy="17082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C5E9F1A1-2C79-244D-9E78-D809AAE85C1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87833" y="1683042"/>
            <a:ext cx="956685" cy="731367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en-US" dirty="0"/>
              <a:t>0</a:t>
            </a:r>
            <a:r>
              <a:rPr lang="ru-RU" dirty="0"/>
              <a:t>3</a:t>
            </a:r>
            <a:endParaRPr lang="en-US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8ABE548B-2496-6448-9C00-4F474C9603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70996" y="3960306"/>
            <a:ext cx="2808287" cy="17372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824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41E6EC78-49FD-EC4F-AE6F-797294FBBCA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87833" y="3833311"/>
            <a:ext cx="956685" cy="731367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04</a:t>
            </a:r>
            <a:endParaRPr lang="en-US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4143966-647E-F34B-B8D9-4F190B3C37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B908CDC6-7B00-19B7-EB3B-5B40B10E3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025" y="296862"/>
            <a:ext cx="8423625" cy="431801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lang="ru-RU" sz="18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102976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умерация (проект решени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B967636-5D46-0445-9743-256D6F5265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09003" y="1174350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BEBA3CA6-35EC-B545-99A7-771C951EE6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09003" y="2253706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79B8576-1F06-A045-9781-639D90CCF0B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374" y="1124860"/>
            <a:ext cx="720725" cy="43211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1</a:t>
            </a:r>
            <a:endParaRPr lang="en-US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4E53C26E-8254-D048-A74A-443BC79ADD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0173" y="2210529"/>
            <a:ext cx="718829" cy="4220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2</a:t>
            </a:r>
            <a:endParaRPr lang="en-US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A1989830-E99E-A247-981A-CF6237CECAD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24409" y="1174350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C315E49-3426-ED4D-B80E-7FA82D64C2C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24409" y="2253706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12365AF3-4942-3742-894A-42033FBFDC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2780" y="1124860"/>
            <a:ext cx="720725" cy="43211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6</a:t>
            </a:r>
            <a:endParaRPr lang="en-US" dirty="0"/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4FD06E6D-45BB-3A4B-B97B-2149B6AC5C7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05579" y="2210529"/>
            <a:ext cx="718829" cy="4220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7</a:t>
            </a:r>
            <a:endParaRPr lang="en-US" dirty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943DC364-6991-394B-AF4D-6BFFF40ED2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41B4B6E9-1595-216C-B830-64168D4DC2C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09003" y="3335361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903D281C-6DCA-90FC-0549-F6F68456228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90173" y="3291531"/>
            <a:ext cx="718829" cy="4220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3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BDEE750-66C8-8392-E36C-07B512887FB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24409" y="3335361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7BFC0CF-879F-350D-CCD6-D592F5A77C2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05579" y="3291531"/>
            <a:ext cx="718829" cy="4220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8</a:t>
            </a:r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85BCBC9-CB00-0574-A3E3-2C6409ACDC0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309003" y="4418925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B1A768-ACCE-1296-02E0-1F86368D71D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0173" y="4369587"/>
            <a:ext cx="718829" cy="4220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4</a:t>
            </a:r>
            <a:endParaRPr lang="en-US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F9B5AF5-2491-AB55-D788-65973A65062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24409" y="4418925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C71F567-FDD6-002B-A2B9-2E004E25CF3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05579" y="4369587"/>
            <a:ext cx="718829" cy="4220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9</a:t>
            </a:r>
            <a:endParaRPr lang="en-US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D407D13-4408-186A-C089-6338D1D923E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309003" y="5494601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8330DCE3-022C-F7D0-831A-A2DEAD3126B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90173" y="5450771"/>
            <a:ext cx="718829" cy="4220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5</a:t>
            </a:r>
            <a:endParaRPr lang="en-US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2BE1F052-B425-3481-7BB1-892ACB2EE98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924409" y="5494601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8E1F1A7D-A582-B16B-BCAB-172E7CBC9B7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05579" y="5450771"/>
            <a:ext cx="718829" cy="4220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10</a:t>
            </a:r>
            <a:endParaRPr lang="en-US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6E099E69-88BD-3559-24BB-90AB05BA07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025" y="296862"/>
            <a:ext cx="8423625" cy="431801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lang="ru-RU" sz="18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486688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Акценты на цифровые знач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екст 10">
            <a:extLst>
              <a:ext uri="{FF2B5EF4-FFF2-40B4-BE49-F238E27FC236}">
                <a16:creationId xmlns:a16="http://schemas.microsoft.com/office/drawing/2014/main" id="{2FDD5A0D-09D0-774F-9685-8F312DE9C0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3556" y="2480070"/>
            <a:ext cx="3529013" cy="3233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2000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4678DF5-CCB3-874E-86AC-E652288B92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71673" y="2480070"/>
            <a:ext cx="2584184" cy="1056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B24EEF8D-280A-264E-9121-23277DB793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69827" y="1508844"/>
            <a:ext cx="1533008" cy="7498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01</a:t>
            </a:r>
            <a:endParaRPr lang="en-US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69F4B89C-95D1-3344-B781-C46E8087EC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66140" y="4630508"/>
            <a:ext cx="2595160" cy="12825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F6460295-8EBC-6040-8E93-E6154A6AE1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64652" y="3663868"/>
            <a:ext cx="1533008" cy="7498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02</a:t>
            </a:r>
            <a:endParaRPr lang="en-US" dirty="0"/>
          </a:p>
        </p:txBody>
      </p:sp>
      <p:sp>
        <p:nvSpPr>
          <p:cNvPr id="36" name="Текст 13">
            <a:extLst>
              <a:ext uri="{FF2B5EF4-FFF2-40B4-BE49-F238E27FC236}">
                <a16:creationId xmlns:a16="http://schemas.microsoft.com/office/drawing/2014/main" id="{D8195300-6EEA-F24A-8000-9877D935DB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5524" y="1614460"/>
            <a:ext cx="3541024" cy="6275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F2BBCDA6-A9F0-884B-8224-E0B38229A4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817" y="2480070"/>
            <a:ext cx="2584184" cy="1056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FD887098-60FA-BE4E-85A9-B3F75D2C0AC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6971" y="1495397"/>
            <a:ext cx="1533008" cy="7498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03</a:t>
            </a:r>
            <a:endParaRPr lang="en-US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951B77FF-4B12-3049-8743-97926F5627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3284" y="4630508"/>
            <a:ext cx="2595160" cy="12825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AA632B1D-5C32-CB40-9DB8-170F7039068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1796" y="3663868"/>
            <a:ext cx="1533008" cy="7498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04</a:t>
            </a:r>
            <a:endParaRPr lang="en-US" dirty="0"/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6E01F9A5-6845-8C47-805B-E9B9617D5A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D8D59FDC-E983-5607-6A5D-993CDC2EE9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025" y="296862"/>
            <a:ext cx="8423625" cy="431801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lang="ru-RU" sz="18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4110493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Автоматические булли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Текст 10">
            <a:extLst>
              <a:ext uri="{FF2B5EF4-FFF2-40B4-BE49-F238E27FC236}">
                <a16:creationId xmlns:a16="http://schemas.microsoft.com/office/drawing/2014/main" id="{7C5FB82A-8323-464A-9753-EE54DF76F7D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6900" y="2692105"/>
            <a:ext cx="5391150" cy="3005433"/>
          </a:xfrm>
          <a:prstGeom prst="rect">
            <a:avLst/>
          </a:prstGeom>
        </p:spPr>
        <p:txBody>
          <a:bodyPr lIns="0" tIns="0" rIns="0" bIns="0"/>
          <a:lstStyle>
            <a:lvl1pPr marL="324000" indent="-32400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SzPct val="100000"/>
              <a:defRPr sz="1600"/>
            </a:lvl1pPr>
          </a:lstStyle>
          <a:p>
            <a:pPr lvl="0"/>
            <a:endParaRPr lang="ru-RU" dirty="0"/>
          </a:p>
        </p:txBody>
      </p:sp>
      <p:sp>
        <p:nvSpPr>
          <p:cNvPr id="16" name="Текст 13">
            <a:extLst>
              <a:ext uri="{FF2B5EF4-FFF2-40B4-BE49-F238E27FC236}">
                <a16:creationId xmlns:a16="http://schemas.microsoft.com/office/drawing/2014/main" id="{6317B7CF-E802-F942-B3CF-4BCBC19C8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5320" y="1830844"/>
            <a:ext cx="5391150" cy="4107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9" name="Текст 10">
            <a:extLst>
              <a:ext uri="{FF2B5EF4-FFF2-40B4-BE49-F238E27FC236}">
                <a16:creationId xmlns:a16="http://schemas.microsoft.com/office/drawing/2014/main" id="{DBC5C2C9-5956-7842-905E-11BB7A5DBCA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7477" y="2692105"/>
            <a:ext cx="5397147" cy="3005433"/>
          </a:xfrm>
          <a:prstGeom prst="rect">
            <a:avLst/>
          </a:prstGeom>
        </p:spPr>
        <p:txBody>
          <a:bodyPr lIns="0" tIns="0" rIns="0" bIns="0"/>
          <a:lstStyle>
            <a:lvl1pPr marL="324000" indent="-32400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SzPct val="100000"/>
              <a:defRPr sz="1600"/>
            </a:lvl1pPr>
          </a:lstStyle>
          <a:p>
            <a:pPr lvl="0"/>
            <a:endParaRPr lang="ru-RU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A33DA4D-5F07-5547-A2EC-742BDE325A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B9AF43A-DF94-755B-7C84-59DA00A2A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025" y="296862"/>
            <a:ext cx="8423625" cy="431801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lang="ru-RU" sz="18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6647508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 пиктограмм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Рисунок 37">
            <a:extLst>
              <a:ext uri="{FF2B5EF4-FFF2-40B4-BE49-F238E27FC236}">
                <a16:creationId xmlns:a16="http://schemas.microsoft.com/office/drawing/2014/main" id="{3AD56FE5-CF6D-EA4A-B34C-8D42F223869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87375" y="1735473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ru-RU" dirty="0"/>
          </a:p>
        </p:txBody>
      </p:sp>
      <p:sp>
        <p:nvSpPr>
          <p:cNvPr id="22" name="Рисунок 37">
            <a:extLst>
              <a:ext uri="{FF2B5EF4-FFF2-40B4-BE49-F238E27FC236}">
                <a16:creationId xmlns:a16="http://schemas.microsoft.com/office/drawing/2014/main" id="{1ACE8982-5E36-AF47-9F45-29E44C95270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87375" y="3679825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ED37180F-67D1-FB42-BB79-26B9C65743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3999" y="1830621"/>
            <a:ext cx="3527425" cy="14904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78DD0F7-E7F6-3647-998F-2C0D8AA643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23999" y="3776549"/>
            <a:ext cx="3527425" cy="14904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0" name="Рисунок 37">
            <a:extLst>
              <a:ext uri="{FF2B5EF4-FFF2-40B4-BE49-F238E27FC236}">
                <a16:creationId xmlns:a16="http://schemas.microsoft.com/office/drawing/2014/main" id="{30DFC402-BC3F-304E-B881-DE7B050A858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12320" y="1735473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ru-RU" dirty="0"/>
          </a:p>
        </p:txBody>
      </p:sp>
      <p:sp>
        <p:nvSpPr>
          <p:cNvPr id="51" name="Рисунок 37">
            <a:extLst>
              <a:ext uri="{FF2B5EF4-FFF2-40B4-BE49-F238E27FC236}">
                <a16:creationId xmlns:a16="http://schemas.microsoft.com/office/drawing/2014/main" id="{24B6F667-B54D-B344-8297-25B5324224F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12320" y="3679825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ru-RU" dirty="0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6F96E179-1ACC-B142-B8E2-E6FEB5458E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48944" y="1830621"/>
            <a:ext cx="3519055" cy="14904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97F42C98-ED67-8B4F-AC97-779A294421A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48944" y="3776549"/>
            <a:ext cx="3519055" cy="14904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C0833A51-398A-2A46-9AE2-B2CEA50E9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C045CD2D-F757-BFA7-B551-0F7164E903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025" y="296862"/>
            <a:ext cx="8423625" cy="431801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lang="ru-RU" sz="18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0046811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9666" y="2827365"/>
            <a:ext cx="7615767" cy="1583916"/>
          </a:xfrm>
          <a:prstGeom prst="rect">
            <a:avLst/>
          </a:prstGeom>
        </p:spPr>
        <p:txBody>
          <a:bodyPr lIns="0" tIns="0" rIns="0" bIns="0"/>
          <a:lstStyle>
            <a:lvl1pPr>
              <a:defRPr sz="3597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defTabSz="12180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597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/>
              </a:rPr>
              <a:t>Тема презентации</a:t>
            </a:r>
            <a:endParaRPr kumimoji="0" lang="en-US" sz="3597" b="1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9666" y="5059671"/>
            <a:ext cx="7615767" cy="3792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5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>
                <a:latin typeface="Arial" pitchFamily="34" charset="0"/>
                <a:cs typeface="Arial" pitchFamily="34" charset="0"/>
              </a:rPr>
              <a:t>Наименование мероприятия </a:t>
            </a:r>
            <a:r>
              <a:rPr lang="en-US" dirty="0">
                <a:latin typeface="Arial" pitchFamily="34" charset="0"/>
                <a:cs typeface="Arial" pitchFamily="34" charset="0"/>
              </a:rPr>
              <a:t>/</a:t>
            </a:r>
            <a:r>
              <a:rPr lang="ru-RU" dirty="0">
                <a:latin typeface="Arial" pitchFamily="34" charset="0"/>
                <a:cs typeface="Arial" pitchFamily="34" charset="0"/>
              </a:rPr>
              <a:t> название площадки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19666" y="5610804"/>
            <a:ext cx="7615767" cy="29104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5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65" b="1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ИО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5898539"/>
            <a:ext cx="7615767" cy="37922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5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65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3558787957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нкты с символ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Рисунок 3">
            <a:extLst>
              <a:ext uri="{FF2B5EF4-FFF2-40B4-BE49-F238E27FC236}">
                <a16:creationId xmlns:a16="http://schemas.microsoft.com/office/drawing/2014/main" id="{7C3C1AAB-1403-6B46-85FD-B05EEBB725E4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587375" y="4193841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070A2CF3-8814-D549-8AD1-D3E9FE64650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308100" y="4202923"/>
            <a:ext cx="2808288" cy="6337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5" name="Рисунок 3">
            <a:extLst>
              <a:ext uri="{FF2B5EF4-FFF2-40B4-BE49-F238E27FC236}">
                <a16:creationId xmlns:a16="http://schemas.microsoft.com/office/drawing/2014/main" id="{62D9BC24-C3A8-8943-B49D-05C632C2066A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92372" y="5061109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F840D1C0-9F64-7B4B-AC0F-F55F3C62113D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308099" y="5067542"/>
            <a:ext cx="2808287" cy="63372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50EC2D56-CD1C-604D-AC86-7B7FCC60AFD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87374" y="2258783"/>
            <a:ext cx="5400675" cy="14939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8" name="Текст 13">
            <a:extLst>
              <a:ext uri="{FF2B5EF4-FFF2-40B4-BE49-F238E27FC236}">
                <a16:creationId xmlns:a16="http://schemas.microsoft.com/office/drawing/2014/main" id="{ACCE3CEA-6D58-E641-9830-860F3A9312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058" y="1394048"/>
            <a:ext cx="5413992" cy="4236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BDA8558D-A2DA-8049-AEBA-44CF8C79F494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03953" y="2258783"/>
            <a:ext cx="5400675" cy="14939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0" name="Рисунок 3">
            <a:extLst>
              <a:ext uri="{FF2B5EF4-FFF2-40B4-BE49-F238E27FC236}">
                <a16:creationId xmlns:a16="http://schemas.microsoft.com/office/drawing/2014/main" id="{101F3F63-0914-9E46-A4B3-69E00C34C607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4329919" y="4193841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E671F133-703A-E64D-884D-9F2EC55C553A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050644" y="4202923"/>
            <a:ext cx="2808288" cy="6337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2" name="Рисунок 3">
            <a:extLst>
              <a:ext uri="{FF2B5EF4-FFF2-40B4-BE49-F238E27FC236}">
                <a16:creationId xmlns:a16="http://schemas.microsoft.com/office/drawing/2014/main" id="{CE5E5418-8746-9D47-A671-63F99ECC06FE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4334916" y="5061109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D67A0FD6-6983-2E4A-B539-8C4AFC592DE8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050643" y="5067542"/>
            <a:ext cx="2808287" cy="63372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4" name="Рисунок 3">
            <a:extLst>
              <a:ext uri="{FF2B5EF4-FFF2-40B4-BE49-F238E27FC236}">
                <a16:creationId xmlns:a16="http://schemas.microsoft.com/office/drawing/2014/main" id="{1BC6A58C-4C4E-0944-84A5-76CDF5286452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8077460" y="4193841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C06D70C-FAB9-D24A-B094-743BB496FA0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8798185" y="4202923"/>
            <a:ext cx="2808288" cy="6337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6" name="Рисунок 3">
            <a:extLst>
              <a:ext uri="{FF2B5EF4-FFF2-40B4-BE49-F238E27FC236}">
                <a16:creationId xmlns:a16="http://schemas.microsoft.com/office/drawing/2014/main" id="{2F046685-C421-934C-8AAC-7F2604D97D97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8082457" y="5061109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906D477E-AD21-B841-9DCF-A13C1D667038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798184" y="5067542"/>
            <a:ext cx="2808287" cy="63372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2C4E3DC2-CED7-E344-B2AC-0EC32BAA69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1D704D91-8476-BFF7-E112-EA234D890A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025" y="296862"/>
            <a:ext cx="8423625" cy="431801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lang="ru-RU" sz="18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9224617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0EE7E2F3-C7D0-DF48-A00E-8B33ABE8E0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09370" y="2475441"/>
            <a:ext cx="4678680" cy="6297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2D61247B-D52C-2740-A2C5-A530D90BE8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375" y="2410389"/>
            <a:ext cx="721995" cy="433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1</a:t>
            </a:r>
            <a:endParaRPr lang="en-US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BD02B7B-77D5-AD4A-BD92-5A97B68CC90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08100" y="3127022"/>
            <a:ext cx="4679950" cy="6258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04563121-9777-964E-8C93-E620D49D09D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7412" y="3059494"/>
            <a:ext cx="710688" cy="4419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2</a:t>
            </a:r>
            <a:endParaRPr lang="en-US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1DF7DCF2-60BF-154D-8BFF-922AFFA024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14910" y="4207050"/>
            <a:ext cx="4679950" cy="626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D5F9B87E-0C49-7148-B1E4-9DA4167E522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7412" y="4138995"/>
            <a:ext cx="717498" cy="431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3</a:t>
            </a:r>
            <a:endParaRPr lang="en-US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407B9EA-BE4D-744F-B1D0-7826F89FCA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308100" y="4859625"/>
            <a:ext cx="4686760" cy="6220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234511A2-8A3D-C34D-BABB-BC316D6339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97411" y="4803050"/>
            <a:ext cx="710687" cy="4170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4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928538-DB16-3E4F-9B9F-C4F309A17BD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140575" y="2475440"/>
            <a:ext cx="4464050" cy="127741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7CBDE216-F61B-4D4A-B5BF-A5E505D4333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145388" y="4202620"/>
            <a:ext cx="4449200" cy="127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1" name="Текст 13">
            <a:extLst>
              <a:ext uri="{FF2B5EF4-FFF2-40B4-BE49-F238E27FC236}">
                <a16:creationId xmlns:a16="http://schemas.microsoft.com/office/drawing/2014/main" id="{4D5A2C62-559D-A74C-A444-C6B8CC73E8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398" y="1616464"/>
            <a:ext cx="5395651" cy="404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50D74FE3-44A9-EC4C-8C69-547050223B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34BA15F3-47B5-5911-C342-6D3777F82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025" y="296862"/>
            <a:ext cx="8423625" cy="431801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lang="ru-RU" sz="18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7868349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е блоки с символ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8886A441-591F-9244-A489-295B1D7D51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DF054FF2-AFA1-8047-87A0-35CE6528444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92541" y="2480049"/>
            <a:ext cx="3525268" cy="32230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2" name="Рисунок 3">
            <a:extLst>
              <a:ext uri="{FF2B5EF4-FFF2-40B4-BE49-F238E27FC236}">
                <a16:creationId xmlns:a16="http://schemas.microsoft.com/office/drawing/2014/main" id="{3094DF6D-9C1B-1A40-8DCE-53E41DE85D36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4338551" y="1828471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E31C5814-6F67-0C44-876B-13D5F03D96F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063464" y="1832528"/>
            <a:ext cx="2797836" cy="17099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7" name="Рисунок 3">
            <a:extLst>
              <a:ext uri="{FF2B5EF4-FFF2-40B4-BE49-F238E27FC236}">
                <a16:creationId xmlns:a16="http://schemas.microsoft.com/office/drawing/2014/main" id="{EDA5CD73-E66B-0F4B-9C8E-4C13F1F937A9}"/>
              </a:ext>
            </a:extLst>
          </p:cNvPr>
          <p:cNvSpPr>
            <a:spLocks noGrp="1"/>
          </p:cNvSpPr>
          <p:nvPr>
            <p:ph type="pic" sz="quarter" idx="77" hasCustomPrompt="1"/>
          </p:nvPr>
        </p:nvSpPr>
        <p:spPr>
          <a:xfrm>
            <a:off x="4338551" y="3764036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FFC3865D-8AC5-1742-9B56-92FBE1CCB38B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5063464" y="3777214"/>
            <a:ext cx="2797836" cy="19258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9" name="Текст 13">
            <a:extLst>
              <a:ext uri="{FF2B5EF4-FFF2-40B4-BE49-F238E27FC236}">
                <a16:creationId xmlns:a16="http://schemas.microsoft.com/office/drawing/2014/main" id="{FFF0FE7D-141F-0F4B-A775-E3747FEB41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1118" y="1614257"/>
            <a:ext cx="3525269" cy="6272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0" name="Рисунок 3">
            <a:extLst>
              <a:ext uri="{FF2B5EF4-FFF2-40B4-BE49-F238E27FC236}">
                <a16:creationId xmlns:a16="http://schemas.microsoft.com/office/drawing/2014/main" id="{1AF385B8-6C17-D84D-AFAD-A1F8A8C5D8DF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8075601" y="1828471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C1D2E84C-9516-C247-8022-F741A47642C1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8800514" y="1832528"/>
            <a:ext cx="2797836" cy="17099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2" name="Рисунок 3">
            <a:extLst>
              <a:ext uri="{FF2B5EF4-FFF2-40B4-BE49-F238E27FC236}">
                <a16:creationId xmlns:a16="http://schemas.microsoft.com/office/drawing/2014/main" id="{DBC0B1E4-99F3-8949-BCA2-7A574BFFB005}"/>
              </a:ext>
            </a:extLst>
          </p:cNvPr>
          <p:cNvSpPr>
            <a:spLocks noGrp="1"/>
          </p:cNvSpPr>
          <p:nvPr>
            <p:ph type="pic" sz="quarter" idx="81" hasCustomPrompt="1"/>
          </p:nvPr>
        </p:nvSpPr>
        <p:spPr>
          <a:xfrm>
            <a:off x="8075601" y="3764036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2961AA0B-05BE-8347-A890-35CC9FCE992B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8800514" y="3777214"/>
            <a:ext cx="2797836" cy="19258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A1583691-95CD-F923-52B6-AC3685F1BD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025" y="296862"/>
            <a:ext cx="8423625" cy="431801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lang="ru-RU" sz="18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8151509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F446420-C087-604A-8BC8-25F0CF43B03F}"/>
              </a:ext>
            </a:extLst>
          </p:cNvPr>
          <p:cNvSpPr/>
          <p:nvPr userDrawn="1"/>
        </p:nvSpPr>
        <p:spPr>
          <a:xfrm>
            <a:off x="591452" y="1592262"/>
            <a:ext cx="5396598" cy="3889375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53">
              <a:solidFill>
                <a:srgbClr val="333333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7B1945D-1A5E-D140-8AC1-0541B6DB4A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40575" y="3132531"/>
            <a:ext cx="4464050" cy="23491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E417197E-1E3A-D54C-B6EB-AB906E8FD0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93583" y="1732702"/>
            <a:ext cx="1702755" cy="9406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1500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ED02FBB-1FAB-544E-8FF5-FA678B8FFA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59038" y="2032464"/>
            <a:ext cx="2592387" cy="258398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i="1" kern="12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Цитата</a:t>
            </a:r>
            <a:endParaRPr lang="en-US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B77834AB-2614-F340-A1FC-72CFED2227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59038" y="4878899"/>
            <a:ext cx="2592387" cy="40109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i="1" kern="12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Подпись</a:t>
            </a:r>
            <a:endParaRPr lang="en-US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C41ACC62-6091-054C-BA7D-68C546FE4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7476D521-B121-8D44-89CF-BAE8A64104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1902" y="2024063"/>
            <a:ext cx="779144" cy="649287"/>
          </a:xfrm>
          <a:prstGeom prst="rect">
            <a:avLst/>
          </a:prstGeom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0F66C9E3-AB85-D94D-6E7F-7DE9EE4FB0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025" y="296862"/>
            <a:ext cx="8423625" cy="431801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lang="ru-RU" sz="18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944528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67" y="6085526"/>
            <a:ext cx="5353051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218072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 sz="932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218072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0915650" y="6100237"/>
            <a:ext cx="749300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932" smtClean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932" dirty="0">
              <a:solidFill>
                <a:prstClr val="black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19667" y="575201"/>
            <a:ext cx="8748184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2664" b="1">
                <a:solidFill>
                  <a:srgbClr val="333333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19667" y="1966680"/>
            <a:ext cx="5353051" cy="32848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99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599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6411385" y="1966679"/>
            <a:ext cx="5253567" cy="32729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32"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65E7D4A-564E-4591-8921-3E1F388A3F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1192" y="560273"/>
            <a:ext cx="1483237" cy="39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413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1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67" y="6085526"/>
            <a:ext cx="5353051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218072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 sz="932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932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Place for sources and footnotes</a:t>
            </a:r>
            <a:endParaRPr lang="ru-RU" sz="932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0915650" y="6100237"/>
            <a:ext cx="749300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932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932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19667" y="575201"/>
            <a:ext cx="8748184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3064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19667" y="1966680"/>
            <a:ext cx="5353051" cy="32848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99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z="1599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Text</a:t>
            </a:r>
            <a:endParaRPr lang="ru-RU" sz="1599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 hasCustomPrompt="1"/>
          </p:nvPr>
        </p:nvSpPr>
        <p:spPr>
          <a:xfrm>
            <a:off x="6411385" y="1966679"/>
            <a:ext cx="5253567" cy="32729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3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18784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67" y="6085526"/>
            <a:ext cx="5353051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218072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 sz="932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218072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0915650" y="6100237"/>
            <a:ext cx="749300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932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932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19667" y="575201"/>
            <a:ext cx="8748184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2664" b="1">
                <a:solidFill>
                  <a:srgbClr val="333333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19667" y="1966680"/>
            <a:ext cx="5353051" cy="32848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99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599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6411385" y="1966679"/>
            <a:ext cx="5253567" cy="32729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32"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65E7D4A-564E-4591-8921-3E1F388A3F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1192" y="560273"/>
            <a:ext cx="1483237" cy="39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262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1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86367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14164295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19666" y="2827365"/>
            <a:ext cx="7615767" cy="1583916"/>
          </a:xfrm>
          <a:prstGeom prst="rect">
            <a:avLst/>
          </a:prstGeom>
        </p:spPr>
        <p:txBody>
          <a:bodyPr lIns="0" tIns="0" rIns="0" bIns="0"/>
          <a:lstStyle>
            <a:lvl1pPr>
              <a:defRPr sz="3597" b="1">
                <a:solidFill>
                  <a:srgbClr val="404040"/>
                </a:solidFill>
                <a:latin typeface="+mn-lt"/>
              </a:defRPr>
            </a:lvl1pPr>
          </a:lstStyle>
          <a:p>
            <a:pPr marL="0" marR="0" lvl="0" indent="0" defTabSz="12180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597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/>
              </a:rPr>
              <a:t>Тема презентации</a:t>
            </a:r>
            <a:endParaRPr kumimoji="0" lang="en-US" sz="3597" b="1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9666" y="5059671"/>
            <a:ext cx="7615767" cy="3792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5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>
                <a:latin typeface="Arial" pitchFamily="34" charset="0"/>
                <a:cs typeface="Arial" pitchFamily="34" charset="0"/>
              </a:rPr>
              <a:t>Наименование мероприятия </a:t>
            </a:r>
            <a:r>
              <a:rPr lang="en-US" dirty="0">
                <a:latin typeface="Arial" pitchFamily="34" charset="0"/>
                <a:cs typeface="Arial" pitchFamily="34" charset="0"/>
              </a:rPr>
              <a:t>/</a:t>
            </a:r>
            <a:r>
              <a:rPr lang="ru-RU" dirty="0">
                <a:latin typeface="Arial" pitchFamily="34" charset="0"/>
                <a:cs typeface="Arial" pitchFamily="34" charset="0"/>
              </a:rPr>
              <a:t> название площадки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19666" y="5610804"/>
            <a:ext cx="7615767" cy="29104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5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65" b="1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ИО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5898539"/>
            <a:ext cx="7615767" cy="37922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5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65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3931432707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116052" y="6463092"/>
            <a:ext cx="11396824" cy="394909"/>
          </a:xfrm>
          <a:prstGeom prst="rect">
            <a:avLst/>
          </a:prstGeom>
        </p:spPr>
        <p:txBody>
          <a:bodyPr/>
          <a:lstStyle>
            <a:lvl1pPr>
              <a:defRPr sz="1019"/>
            </a:lvl1pPr>
          </a:lstStyle>
          <a:p>
            <a:pPr lvl="0"/>
            <a:r>
              <a:rPr lang="ru-RU" dirty="0" smtClean="0"/>
              <a:t>Сноски</a:t>
            </a:r>
          </a:p>
          <a:p>
            <a:pPr lvl="0"/>
            <a:r>
              <a:rPr lang="ru-RU" dirty="0" smtClean="0"/>
              <a:t>Источники</a:t>
            </a:r>
            <a:endParaRPr lang="ru-RU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1594305" y="6519232"/>
            <a:ext cx="377235" cy="28052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F6C27087-00BF-43D0-BABD-9A5E1135DC40}" type="slidenum">
              <a:rPr lang="ru-RU" sz="1223">
                <a:solidFill>
                  <a:srgbClr val="44546A"/>
                </a:solidFill>
              </a:rPr>
              <a:pPr algn="r"/>
              <a:t>‹#›</a:t>
            </a:fld>
            <a:endParaRPr lang="ru-RU" sz="1223" dirty="0">
              <a:solidFill>
                <a:srgbClr val="4454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933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72244" y="301937"/>
            <a:ext cx="10689161" cy="29832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34444803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67" y="6085526"/>
            <a:ext cx="5353051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216976" rtl="0" eaLnBrk="1" fontAlgn="auto" latinLnBrk="0" hangingPunct="1">
              <a:lnSpc>
                <a:spcPct val="90000"/>
              </a:lnSpc>
              <a:spcBef>
                <a:spcPts val="1331"/>
              </a:spcBef>
              <a:spcAft>
                <a:spcPts val="0"/>
              </a:spcAft>
              <a:buClrTx/>
              <a:buSzTx/>
              <a:buFontTx/>
              <a:buNone/>
              <a:tabLst/>
              <a:defRPr sz="93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93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Place for sources and footnotes</a:t>
            </a:r>
            <a:endParaRPr lang="ru-RU" sz="93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0915653" y="6100238"/>
            <a:ext cx="749300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931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931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19667" y="575201"/>
            <a:ext cx="8748184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3061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7479473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6411383" y="1966679"/>
            <a:ext cx="5253567" cy="3340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lang="en-US" sz="932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19667" y="1966679"/>
            <a:ext cx="5353051" cy="327490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charset="0"/>
              <a:buNone/>
              <a:defRPr lang="en-US" sz="1599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67" y="6085526"/>
            <a:ext cx="5353051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218072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 sz="932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218072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Место для указания источников и сносок</a:t>
            </a:r>
            <a:endParaRPr lang="en-US" dirty="0" smtClean="0"/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10915650" y="6100237"/>
            <a:ext cx="749300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932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932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19667" y="575201"/>
            <a:ext cx="8748184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3064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969998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67" y="6085526"/>
            <a:ext cx="5353051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216976" rtl="0" eaLnBrk="1" fontAlgn="auto" latinLnBrk="0" hangingPunct="1">
              <a:lnSpc>
                <a:spcPct val="90000"/>
              </a:lnSpc>
              <a:spcBef>
                <a:spcPts val="1331"/>
              </a:spcBef>
              <a:spcAft>
                <a:spcPts val="0"/>
              </a:spcAft>
              <a:buClrTx/>
              <a:buSzTx/>
              <a:buFontTx/>
              <a:buNone/>
              <a:tabLst/>
              <a:defRPr sz="93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93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Place for sources and footnotes</a:t>
            </a:r>
            <a:endParaRPr lang="ru-RU" sz="93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0915653" y="6100238"/>
            <a:ext cx="749300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931" smtClean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931" dirty="0">
              <a:solidFill>
                <a:prstClr val="black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19667" y="575201"/>
            <a:ext cx="8748184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3061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5833600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67" y="6085526"/>
            <a:ext cx="5353051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218072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 sz="932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218072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0915650" y="6100237"/>
            <a:ext cx="749300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932" smtClean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932" dirty="0">
              <a:solidFill>
                <a:prstClr val="black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19667" y="575201"/>
            <a:ext cx="8748184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2664" b="1">
                <a:solidFill>
                  <a:srgbClr val="333333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19667" y="1966680"/>
            <a:ext cx="5353051" cy="32848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99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599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6411385" y="1966679"/>
            <a:ext cx="5253567" cy="32729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32"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65E7D4A-564E-4591-8921-3E1F388A3F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1192" y="560273"/>
            <a:ext cx="1483237" cy="39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172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1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1838517" y="6447049"/>
            <a:ext cx="749300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l" defTabSz="1218072" rtl="0" eaLnBrk="1" latinLnBrk="0" hangingPunct="1"/>
            <a:fld id="{6DF24603-9A1B-F342-92E0-89DE32840F75}" type="slidenum">
              <a:rPr lang="en-US" sz="932" b="1" kern="1200" smtClean="0">
                <a:solidFill>
                  <a:schemeClr val="tx1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" charset="0"/>
              </a:rPr>
              <a:pPr marL="0" algn="l" defTabSz="1218072" rtl="0" eaLnBrk="1" latinLnBrk="0" hangingPunct="1"/>
              <a:t>‹#›</a:t>
            </a:fld>
            <a:endParaRPr lang="en-US" sz="932" b="1" kern="1200" dirty="0">
              <a:solidFill>
                <a:schemeClr val="tx1"/>
              </a:solidFill>
              <a:latin typeface="Rosatom" panose="020B0503040504020204" pitchFamily="34" charset="-52"/>
              <a:ea typeface="Rosatom" panose="020B0503040504020204" pitchFamily="34" charset="-52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13267" y="304424"/>
            <a:ext cx="8748184" cy="439859"/>
          </a:xfrm>
          <a:prstGeom prst="rect">
            <a:avLst/>
          </a:prstGeom>
        </p:spPr>
        <p:txBody>
          <a:bodyPr lIns="0" tIns="0" rIns="0" bIns="0" anchor="b"/>
          <a:lstStyle>
            <a:lvl1pPr algn="l" defTabSz="121807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1" kern="1200" dirty="0">
                <a:solidFill>
                  <a:srgbClr val="606163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697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6">
          <p15:clr>
            <a:srgbClr val="FBAE40"/>
          </p15:clr>
        </p15:guide>
        <p15:guide id="2" pos="203">
          <p15:clr>
            <a:srgbClr val="FBAE40"/>
          </p15:clr>
        </p15:guide>
        <p15:guide id="3" orient="horz" pos="4103">
          <p15:clr>
            <a:srgbClr val="FBAE40"/>
          </p15:clr>
        </p15:guide>
        <p15:guide id="4" pos="746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67" y="6085526"/>
            <a:ext cx="5353051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218072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 sz="932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932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Place for sources and footnotes</a:t>
            </a:r>
            <a:endParaRPr lang="ru-RU" sz="932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0915650" y="6100237"/>
            <a:ext cx="749300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932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932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19667" y="575201"/>
            <a:ext cx="8748184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3064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19667" y="1966680"/>
            <a:ext cx="5353051" cy="32848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99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z="1599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Text</a:t>
            </a:r>
            <a:endParaRPr lang="ru-RU" sz="1599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 hasCustomPrompt="1"/>
          </p:nvPr>
        </p:nvSpPr>
        <p:spPr>
          <a:xfrm>
            <a:off x="6411385" y="1966679"/>
            <a:ext cx="5253567" cy="32729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3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02374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91729" y="34986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18" b="1" dirty="0" smtClean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85749" y="37255"/>
            <a:ext cx="401720" cy="12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7" dirty="0" smtClean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91727" y="508602"/>
            <a:ext cx="2909451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dirty="0" smtClean="0"/>
              <a:t>Last Modified 25.04.2014 19:06 Russian Standard Time</a:t>
            </a:r>
            <a:endParaRPr lang="ru-RU" sz="918" dirty="0" smtClean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91727" y="668956"/>
            <a:ext cx="2582438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dirty="0" smtClean="0"/>
              <a:t>Printed 24.04.2014 20:59 Russian Standard Time</a:t>
            </a:r>
            <a:endParaRPr lang="ru-RU" sz="918" dirty="0" smtClean="0"/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2"/>
            <a:ext cx="1218768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/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28" dirty="0" smtClean="0"/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166" eaLnBrk="0" hangingPunct="0"/>
              <a:r>
                <a:rPr lang="ru-RU" sz="817" dirty="0" smtClean="0"/>
                <a:t>КОНФИДЕНЦИАЛЬНАЯ ИНФОРМАЦИЯ, СОБСТВЕННОСТЬ McKINSEY &amp; COMPANY</a:t>
              </a:r>
            </a:p>
            <a:p>
              <a:pPr defTabSz="821166" eaLnBrk="0" hangingPunct="0"/>
              <a:r>
                <a:rPr lang="ru-RU" sz="817" dirty="0" smtClean="0"/>
                <a:t>Любое использование этого документа без специального разрешения McKinsey &amp; Company строго запрещено</a:t>
              </a:r>
              <a:endParaRPr lang="ru-RU" sz="817" dirty="0"/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837" dirty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837" dirty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837" dirty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1" y="6574545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91726" y="3175997"/>
            <a:ext cx="6714779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91726" y="3945698"/>
            <a:ext cx="6714779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78" y="194370"/>
            <a:ext cx="12170403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0848" y="4617893"/>
            <a:ext cx="7801152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4218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72244" y="301937"/>
            <a:ext cx="10689161" cy="29832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7762863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image" Target="../media/image31.svg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"/>
            <a:ext cx="12192000" cy="686409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668" y="552451"/>
            <a:ext cx="1089152" cy="1393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527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</p:sldLayoutIdLst>
  <p:hf hdr="0" ftr="0" dt="0"/>
  <p:txStyles>
    <p:titleStyle>
      <a:lvl1pPr algn="l" defTabSz="913554" rtl="0" eaLnBrk="1" latinLnBrk="0" hangingPunct="1">
        <a:lnSpc>
          <a:spcPct val="90000"/>
        </a:lnSpc>
        <a:spcBef>
          <a:spcPct val="0"/>
        </a:spcBef>
        <a:buNone/>
        <a:defRPr sz="439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389" indent="-228389" algn="l" defTabSz="913554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2797" kern="1200">
          <a:solidFill>
            <a:schemeClr val="tx1"/>
          </a:solidFill>
          <a:latin typeface="+mn-lt"/>
          <a:ea typeface="+mn-ea"/>
          <a:cs typeface="+mn-cs"/>
        </a:defRPr>
      </a:lvl1pPr>
      <a:lvl2pPr marL="685166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141943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3pPr>
      <a:lvl4pPr marL="1598720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2055497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512274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69051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828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605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77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554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331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108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885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663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440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4217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25550" y="1979953"/>
            <a:ext cx="1942840" cy="94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3" dirty="0" smtClean="0"/>
              <a:t>Last Modified 25.04.2014 19:06 Russian Standard Time</a:t>
            </a:r>
            <a:endParaRPr lang="ru-RU" sz="1632" dirty="0" smtClean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35358" y="4197932"/>
            <a:ext cx="1723229" cy="94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3" dirty="0" smtClean="0"/>
              <a:t>Printed 24.04.2014 20:59 Russian Standard Time</a:t>
            </a:r>
            <a:endParaRPr lang="ru-RU" sz="1632" dirty="0" smtClean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8"/>
            <a:ext cx="5853024" cy="1256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2243" y="301937"/>
            <a:ext cx="10593467" cy="298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2245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428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1985" y="946661"/>
            <a:ext cx="11725484" cy="251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1986" y="6264301"/>
            <a:ext cx="11630453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baseline="0" dirty="0" smtClean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1984" y="6578595"/>
            <a:ext cx="9336760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48" indent="-621948" defTabSz="913486">
              <a:tabLst>
                <a:tab pos="625187" algn="l"/>
              </a:tabLst>
            </a:pPr>
            <a:r>
              <a:rPr lang="ru-RU" sz="1020" baseline="0" dirty="0" smtClean="0">
                <a:solidFill>
                  <a:schemeClr val="tx1"/>
                </a:solidFill>
                <a:latin typeface="+mn-lt"/>
              </a:rPr>
              <a:t>ИСТОЧНИК: источник</a:t>
            </a:r>
            <a:endParaRPr lang="ru-RU" sz="1020" baseline="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085233"/>
            <a:ext cx="5801189" cy="583110"/>
            <a:chOff x="915" y="670"/>
            <a:chExt cx="2686" cy="36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0"/>
              <a:ext cx="2686" cy="3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837" b="1" dirty="0" smtClean="0"/>
                <a:t>Title</a:t>
              </a:r>
            </a:p>
            <a:p>
              <a:r>
                <a:rPr lang="ru-RU" sz="1837" dirty="0" smtClean="0">
                  <a:solidFill>
                    <a:srgbClr val="808080"/>
                  </a:solidFill>
                </a:rPr>
                <a:t>Unit of measure</a:t>
              </a:r>
              <a:endParaRPr lang="ru-RU" sz="1837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 userDrawn="1"/>
        </p:nvSpPr>
        <p:spPr bwMode="auto">
          <a:xfrm>
            <a:off x="161984" y="6454684"/>
            <a:ext cx="11855683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8" bIns="93298" anchor="ctr"/>
          <a:lstStyle/>
          <a:p>
            <a:pPr>
              <a:defRPr/>
            </a:pPr>
            <a:endParaRPr lang="ru-RU" sz="1837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 userDrawn="1"/>
        </p:nvSpPr>
        <p:spPr bwMode="auto">
          <a:xfrm>
            <a:off x="172243" y="902198"/>
            <a:ext cx="1184751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8" bIns="93298" anchor="ctr"/>
          <a:lstStyle/>
          <a:p>
            <a:pPr>
              <a:defRPr/>
            </a:pPr>
            <a:endParaRPr lang="ru-RU" sz="1837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904431" y="42452"/>
            <a:ext cx="1207320" cy="80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98981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4" r:id="rId4"/>
  </p:sldLayoutIdLst>
  <p:hf hdr="0" ftr="0" dt="0"/>
  <p:txStyles>
    <p:titleStyle>
      <a:lvl1pPr algn="l" defTabSz="913486" rtl="0" eaLnBrk="1" fontAlgn="base" hangingPunct="1">
        <a:spcBef>
          <a:spcPct val="0"/>
        </a:spcBef>
        <a:spcAft>
          <a:spcPct val="0"/>
        </a:spcAft>
        <a:tabLst>
          <a:tab pos="364423" algn="l"/>
        </a:tabLst>
        <a:defRPr sz="193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486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2pPr>
      <a:lvl3pPr algn="l" defTabSz="913486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3pPr>
      <a:lvl4pPr algn="l" defTabSz="913486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4pPr>
      <a:lvl5pPr algn="l" defTabSz="913486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5pPr>
      <a:lvl6pPr marL="466460" algn="l" defTabSz="913486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6pPr>
      <a:lvl7pPr marL="932922" algn="l" defTabSz="913486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7pPr>
      <a:lvl8pPr marL="1399382" algn="l" defTabSz="913486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8pPr>
      <a:lvl9pPr marL="1865843" algn="l" defTabSz="913486" rtl="0" eaLnBrk="1" fontAlgn="base" hangingPunct="1">
        <a:spcBef>
          <a:spcPct val="0"/>
        </a:spcBef>
        <a:spcAft>
          <a:spcPct val="0"/>
        </a:spcAft>
        <a:defRPr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8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598" indent="-195979" algn="l" defTabSz="9134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60" indent="-267243" algn="l" defTabSz="9134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08" indent="-158726" algn="l" defTabSz="9134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4996" indent="-132812" algn="l" defTabSz="9134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4996" indent="-132812" algn="l" defTabSz="9134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4996" indent="-132812" algn="l" defTabSz="9134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4996" indent="-132812" algn="l" defTabSz="9134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4996" indent="-132812" algn="l" defTabSz="9134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2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60" algn="l" defTabSz="93292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22" algn="l" defTabSz="93292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382" algn="l" defTabSz="93292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843" algn="l" defTabSz="93292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303" algn="l" defTabSz="93292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765" algn="l" defTabSz="93292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225" algn="l" defTabSz="93292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686" algn="l" defTabSz="93292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1">
            <a:extLst>
              <a:ext uri="{FF2B5EF4-FFF2-40B4-BE49-F238E27FC236}">
                <a16:creationId xmlns:a16="http://schemas.microsoft.com/office/drawing/2014/main" id="{6F46B38B-F396-1046-A6EF-5FCCA0D99DFC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pic>
        <p:nvPicPr>
          <p:cNvPr id="3" name="Picture 18">
            <a:extLst>
              <a:ext uri="{FF2B5EF4-FFF2-40B4-BE49-F238E27FC236}">
                <a16:creationId xmlns:a16="http://schemas.microsoft.com/office/drawing/2014/main" id="{E92CC790-3434-799A-5951-065899FA843F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rcRect/>
          <a:stretch/>
        </p:blipFill>
        <p:spPr>
          <a:xfrm>
            <a:off x="9456838" y="296663"/>
            <a:ext cx="2147787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458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</p:sldLayoutIdLst>
  <p:txStyles>
    <p:titleStyle>
      <a:lvl1pPr algn="l" defTabSz="1042690" rtl="0" eaLnBrk="1" latinLnBrk="0" hangingPunct="1">
        <a:lnSpc>
          <a:spcPct val="90000"/>
        </a:lnSpc>
        <a:spcBef>
          <a:spcPct val="0"/>
        </a:spcBef>
        <a:buNone/>
        <a:defRPr sz="50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0673" indent="-260673" algn="l" defTabSz="1042690" rtl="0" eaLnBrk="1" latinLnBrk="0" hangingPunct="1">
        <a:lnSpc>
          <a:spcPct val="90000"/>
        </a:lnSpc>
        <a:spcBef>
          <a:spcPts val="1140"/>
        </a:spcBef>
        <a:buFont typeface="Arial" panose="020B0604020202020204" pitchFamily="34" charset="0"/>
        <a:buChar char="•"/>
        <a:defRPr sz="3193" kern="1200">
          <a:solidFill>
            <a:schemeClr val="tx1"/>
          </a:solidFill>
          <a:latin typeface="+mn-lt"/>
          <a:ea typeface="+mn-ea"/>
          <a:cs typeface="+mn-cs"/>
        </a:defRPr>
      </a:lvl1pPr>
      <a:lvl2pPr marL="78201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737" kern="1200">
          <a:solidFill>
            <a:schemeClr val="tx1"/>
          </a:solidFill>
          <a:latin typeface="+mn-lt"/>
          <a:ea typeface="+mn-ea"/>
          <a:cs typeface="+mn-cs"/>
        </a:defRPr>
      </a:lvl2pPr>
      <a:lvl3pPr marL="130336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281" kern="1200">
          <a:solidFill>
            <a:schemeClr val="tx1"/>
          </a:solidFill>
          <a:latin typeface="+mn-lt"/>
          <a:ea typeface="+mn-ea"/>
          <a:cs typeface="+mn-cs"/>
        </a:defRPr>
      </a:lvl3pPr>
      <a:lvl4pPr marL="182470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34605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86739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38874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910089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43143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1pPr>
      <a:lvl2pPr marL="52134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2pPr>
      <a:lvl3pPr marL="104269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3pPr>
      <a:lvl4pPr marL="156403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08538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60672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12807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64941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17076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>
          <p15:clr>
            <a:srgbClr val="F26B43"/>
          </p15:clr>
        </p15:guide>
        <p15:guide id="2" pos="824">
          <p15:clr>
            <a:srgbClr val="F26B43"/>
          </p15:clr>
        </p15:guide>
        <p15:guide id="3" pos="960">
          <p15:clr>
            <a:srgbClr val="F26B43"/>
          </p15:clr>
        </p15:guide>
        <p15:guide id="4" pos="1413">
          <p15:clr>
            <a:srgbClr val="F26B43"/>
          </p15:clr>
        </p15:guide>
        <p15:guide id="5" pos="1549">
          <p15:clr>
            <a:srgbClr val="F26B43"/>
          </p15:clr>
        </p15:guide>
        <p15:guide id="6" pos="2003">
          <p15:clr>
            <a:srgbClr val="F26B43"/>
          </p15:clr>
        </p15:guide>
        <p15:guide id="7" pos="2139">
          <p15:clr>
            <a:srgbClr val="F26B43"/>
          </p15:clr>
        </p15:guide>
        <p15:guide id="8" pos="2593">
          <p15:clr>
            <a:srgbClr val="F26B43"/>
          </p15:clr>
        </p15:guide>
        <p15:guide id="9" pos="2729">
          <p15:clr>
            <a:srgbClr val="F26B43"/>
          </p15:clr>
        </p15:guide>
        <p15:guide id="10" pos="3182">
          <p15:clr>
            <a:srgbClr val="F26B43"/>
          </p15:clr>
        </p15:guide>
        <p15:guide id="11" pos="3318">
          <p15:clr>
            <a:srgbClr val="F26B43"/>
          </p15:clr>
        </p15:guide>
        <p15:guide id="12" pos="3772">
          <p15:clr>
            <a:srgbClr val="F26B43"/>
          </p15:clr>
        </p15:guide>
        <p15:guide id="13" pos="3908">
          <p15:clr>
            <a:srgbClr val="F26B43"/>
          </p15:clr>
        </p15:guide>
        <p15:guide id="14" pos="4362">
          <p15:clr>
            <a:srgbClr val="F26B43"/>
          </p15:clr>
        </p15:guide>
        <p15:guide id="15" pos="4498">
          <p15:clr>
            <a:srgbClr val="F26B43"/>
          </p15:clr>
        </p15:guide>
        <p15:guide id="16" pos="4952">
          <p15:clr>
            <a:srgbClr val="F26B43"/>
          </p15:clr>
        </p15:guide>
        <p15:guide id="17" pos="5087">
          <p15:clr>
            <a:srgbClr val="F26B43"/>
          </p15:clr>
        </p15:guide>
        <p15:guide id="18" pos="5541">
          <p15:clr>
            <a:srgbClr val="F26B43"/>
          </p15:clr>
        </p15:guide>
        <p15:guide id="19" pos="5676">
          <p15:clr>
            <a:srgbClr val="F26B43"/>
          </p15:clr>
        </p15:guide>
        <p15:guide id="20" pos="6131">
          <p15:clr>
            <a:srgbClr val="F26B43"/>
          </p15:clr>
        </p15:guide>
        <p15:guide id="21" pos="6267">
          <p15:clr>
            <a:srgbClr val="F26B43"/>
          </p15:clr>
        </p15:guide>
        <p15:guide id="22" pos="6720">
          <p15:clr>
            <a:srgbClr val="F26B43"/>
          </p15:clr>
        </p15:guide>
        <p15:guide id="23" pos="6856">
          <p15:clr>
            <a:srgbClr val="F26B43"/>
          </p15:clr>
        </p15:guide>
        <p15:guide id="24" pos="7310">
          <p15:clr>
            <a:srgbClr val="F26B43"/>
          </p15:clr>
        </p15:guide>
        <p15:guide id="25" orient="horz" pos="187">
          <p15:clr>
            <a:srgbClr val="F26B43"/>
          </p15:clr>
        </p15:guide>
        <p15:guide id="26" orient="horz" pos="459">
          <p15:clr>
            <a:srgbClr val="F26B43"/>
          </p15:clr>
        </p15:guide>
        <p15:guide id="30" orient="horz" pos="864">
          <p15:clr>
            <a:srgbClr val="F26B43"/>
          </p15:clr>
        </p15:guide>
        <p15:guide id="33" orient="horz" pos="1003">
          <p15:clr>
            <a:srgbClr val="F26B43"/>
          </p15:clr>
        </p15:guide>
        <p15:guide id="34" orient="horz" pos="1275">
          <p15:clr>
            <a:srgbClr val="F26B43"/>
          </p15:clr>
        </p15:guide>
        <p15:guide id="36" orient="horz" pos="595">
          <p15:clr>
            <a:srgbClr val="F26B43"/>
          </p15:clr>
        </p15:guide>
        <p15:guide id="37" orient="horz" pos="731">
          <p15:clr>
            <a:srgbClr val="F26B43"/>
          </p15:clr>
        </p15:guide>
        <p15:guide id="38" orient="horz" pos="1684">
          <p15:clr>
            <a:srgbClr val="F26B43"/>
          </p15:clr>
        </p15:guide>
        <p15:guide id="39" orient="horz" pos="1412">
          <p15:clr>
            <a:srgbClr val="F26B43"/>
          </p15:clr>
        </p15:guide>
        <p15:guide id="40" orient="horz" pos="1548">
          <p15:clr>
            <a:srgbClr val="F26B43"/>
          </p15:clr>
        </p15:guide>
        <p15:guide id="41" orient="horz" pos="1139">
          <p15:clr>
            <a:srgbClr val="F26B43"/>
          </p15:clr>
        </p15:guide>
        <p15:guide id="42" orient="horz" pos="2092">
          <p15:clr>
            <a:srgbClr val="F26B43"/>
          </p15:clr>
        </p15:guide>
        <p15:guide id="43" orient="horz" pos="1820">
          <p15:clr>
            <a:srgbClr val="F26B43"/>
          </p15:clr>
        </p15:guide>
        <p15:guide id="44" orient="horz" pos="2364">
          <p15:clr>
            <a:srgbClr val="F26B43"/>
          </p15:clr>
        </p15:guide>
        <p15:guide id="45" orient="horz" pos="1956">
          <p15:clr>
            <a:srgbClr val="F26B43"/>
          </p15:clr>
        </p15:guide>
        <p15:guide id="46" orient="horz" pos="2500">
          <p15:clr>
            <a:srgbClr val="F26B43"/>
          </p15:clr>
        </p15:guide>
        <p15:guide id="47" orient="horz" pos="2228">
          <p15:clr>
            <a:srgbClr val="F26B43"/>
          </p15:clr>
        </p15:guide>
        <p15:guide id="48" orient="horz" pos="2636">
          <p15:clr>
            <a:srgbClr val="F26B43"/>
          </p15:clr>
        </p15:guide>
        <p15:guide id="49" orient="horz" pos="2772">
          <p15:clr>
            <a:srgbClr val="F26B43"/>
          </p15:clr>
        </p15:guide>
        <p15:guide id="50" orient="horz" pos="2908">
          <p15:clr>
            <a:srgbClr val="F26B43"/>
          </p15:clr>
        </p15:guide>
        <p15:guide id="51" orient="horz" pos="3045">
          <p15:clr>
            <a:srgbClr val="F26B43"/>
          </p15:clr>
        </p15:guide>
        <p15:guide id="52" orient="horz" pos="3181">
          <p15:clr>
            <a:srgbClr val="F26B43"/>
          </p15:clr>
        </p15:guide>
        <p15:guide id="53" orient="horz" pos="3317">
          <p15:clr>
            <a:srgbClr val="F26B43"/>
          </p15:clr>
        </p15:guide>
        <p15:guide id="55" orient="horz" pos="3453">
          <p15:clr>
            <a:srgbClr val="F26B43"/>
          </p15:clr>
        </p15:guide>
        <p15:guide id="57" orient="horz" pos="3589">
          <p15:clr>
            <a:srgbClr val="F26B43"/>
          </p15:clr>
        </p15:guide>
        <p15:guide id="58" orient="horz" pos="3725">
          <p15:clr>
            <a:srgbClr val="F26B43"/>
          </p15:clr>
        </p15:guide>
        <p15:guide id="59" orient="horz" pos="3861">
          <p15:clr>
            <a:srgbClr val="F26B43"/>
          </p15:clr>
        </p15:guide>
        <p15:guide id="60" orient="horz" pos="3997">
          <p15:clr>
            <a:srgbClr val="F26B43"/>
          </p15:clr>
        </p15:guide>
        <p15:guide id="61" orient="horz" pos="413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2D2F2F4-C704-E145-B8F5-A821599A858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9527008" y="564500"/>
            <a:ext cx="2138629" cy="43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003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</p:sldLayoutIdLst>
  <p:txStyles>
    <p:titleStyle>
      <a:lvl1pPr algn="l" defTabSz="1218072" rtl="0" eaLnBrk="1" latinLnBrk="0" hangingPunct="1">
        <a:lnSpc>
          <a:spcPct val="90000"/>
        </a:lnSpc>
        <a:spcBef>
          <a:spcPct val="0"/>
        </a:spcBef>
        <a:buNone/>
        <a:defRPr sz="586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518" indent="-304518" algn="l" defTabSz="1218072" rtl="0" eaLnBrk="1" latinLnBrk="0" hangingPunct="1">
        <a:lnSpc>
          <a:spcPct val="90000"/>
        </a:lnSpc>
        <a:spcBef>
          <a:spcPts val="1332"/>
        </a:spcBef>
        <a:buFont typeface="Arial"/>
        <a:buChar char="•"/>
        <a:defRPr sz="3730" kern="1200">
          <a:solidFill>
            <a:schemeClr val="tx1"/>
          </a:solidFill>
          <a:latin typeface="+mn-lt"/>
          <a:ea typeface="+mn-ea"/>
          <a:cs typeface="+mn-cs"/>
        </a:defRPr>
      </a:lvl1pPr>
      <a:lvl2pPr marL="913554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522590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2131626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740663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349699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958735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567771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5176807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036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072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7108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6144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5181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4217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3253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2289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chart" Target="../charts/chart2.xml"/><Relationship Id="rId7" Type="http://schemas.openxmlformats.org/officeDocument/2006/relationships/image" Target="../media/image15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13" Type="http://schemas.openxmlformats.org/officeDocument/2006/relationships/image" Target="../media/image20.png"/><Relationship Id="rId18" Type="http://schemas.openxmlformats.org/officeDocument/2006/relationships/image" Target="../media/image22.png"/><Relationship Id="rId3" Type="http://schemas.openxmlformats.org/officeDocument/2006/relationships/image" Target="../media/image17.png"/><Relationship Id="rId12" Type="http://schemas.openxmlformats.org/officeDocument/2006/relationships/image" Target="../media/image32.svg"/><Relationship Id="rId17" Type="http://schemas.openxmlformats.org/officeDocument/2006/relationships/image" Target="../media/image37.svg"/><Relationship Id="rId2" Type="http://schemas.openxmlformats.org/officeDocument/2006/relationships/image" Target="../media/image16.png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26.xml"/><Relationship Id="rId11" Type="http://schemas.openxmlformats.org/officeDocument/2006/relationships/image" Target="../media/image19.png"/><Relationship Id="rId15" Type="http://schemas.openxmlformats.org/officeDocument/2006/relationships/image" Target="../media/image35.svg"/><Relationship Id="rId10" Type="http://schemas.openxmlformats.org/officeDocument/2006/relationships/image" Target="../media/image30.svg"/><Relationship Id="rId19" Type="http://schemas.openxmlformats.org/officeDocument/2006/relationships/image" Target="../media/image23.png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9666" y="2453480"/>
            <a:ext cx="7615767" cy="1583916"/>
          </a:xfrm>
        </p:spPr>
        <p:txBody>
          <a:bodyPr/>
          <a:lstStyle/>
          <a:p>
            <a:r>
              <a:rPr lang="ru-RU" sz="3200" dirty="0"/>
              <a:t>Стипендия Госкорпорации «Росатом» для иностранных студентов – граждан государств – участников СНГ</a:t>
            </a:r>
            <a:br>
              <a:rPr lang="ru-RU" sz="3200" dirty="0"/>
            </a:br>
            <a:endParaRPr lang="ru-RU" sz="32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719666" y="4220013"/>
            <a:ext cx="7615767" cy="379226"/>
          </a:xfrm>
        </p:spPr>
        <p:txBody>
          <a:bodyPr/>
          <a:lstStyle/>
          <a:p>
            <a:r>
              <a:rPr lang="ru-RU" dirty="0" smtClean="0">
                <a:latin typeface="+mj-lt"/>
              </a:rPr>
              <a:t>2023/2024 учебный год</a:t>
            </a:r>
            <a:endParaRPr lang="ru-RU" dirty="0">
              <a:latin typeface="+mj-lt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486137" y="4964473"/>
            <a:ext cx="60651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Валерий Карезин , директор проекта </a:t>
            </a:r>
          </a:p>
          <a:p>
            <a:r>
              <a:rPr lang="ru-RU" dirty="0" err="1" smtClean="0"/>
              <a:t>Госкорпорации</a:t>
            </a:r>
            <a:r>
              <a:rPr lang="ru-RU" dirty="0" smtClean="0"/>
              <a:t> «Росатом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8795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пасибо за внимание</a:t>
            </a:r>
            <a:br>
              <a:rPr lang="ru-RU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sz="2400" dirty="0" smtClean="0"/>
              <a:t>VVKarezin@rosatom.ru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9900772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ложен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79360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1337733" y="549801"/>
            <a:ext cx="8748184" cy="439859"/>
          </a:xfrm>
        </p:spPr>
        <p:txBody>
          <a:bodyPr/>
          <a:lstStyle/>
          <a:p>
            <a:pPr algn="ctr"/>
            <a:r>
              <a:rPr lang="ru-RU" sz="2400" dirty="0" smtClean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  <a:t>СОСТАВ КОНКУРСНОЙ КОМИССИИ</a:t>
            </a:r>
            <a:endParaRPr lang="ru-RU" sz="2400" dirty="0">
              <a:solidFill>
                <a:srgbClr val="002060"/>
              </a:solidFill>
              <a:latin typeface="Rosatom" panose="020B0604020202020204" charset="-52"/>
              <a:ea typeface="Rosatom" panose="020B0604020202020204" charset="-52"/>
              <a:cs typeface="Ebrima" panose="02000000000000000000" pitchFamily="2" charset="0"/>
            </a:endParaRP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1148782210"/>
              </p:ext>
            </p:extLst>
          </p:nvPr>
        </p:nvGraphicFramePr>
        <p:xfrm>
          <a:off x="313267" y="989660"/>
          <a:ext cx="11550783" cy="55384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6200000">
            <a:off x="-2209800" y="2209799"/>
            <a:ext cx="6858002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8073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ВОТЫ ПО ЛИНИИ РОСАТОМА 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474562" y="1296365"/>
            <a:ext cx="11426008" cy="3234008"/>
          </a:xfrm>
        </p:spPr>
        <p:txBody>
          <a:bodyPr/>
          <a:lstStyle/>
          <a:p>
            <a:r>
              <a:rPr lang="ru-RU" sz="1600" b="1" dirty="0" smtClean="0">
                <a:latin typeface="Rosatom" panose="020B0503040504020204" pitchFamily="34" charset="-52"/>
                <a:ea typeface="Rosatom" panose="020B0503040504020204" pitchFamily="34" charset="-52"/>
              </a:rPr>
              <a:t>СТРАНА	</a:t>
            </a:r>
            <a:r>
              <a:rPr lang="ru-RU" sz="1600" b="1" dirty="0">
                <a:latin typeface="Rosatom" panose="020B0503040504020204" pitchFamily="34" charset="-52"/>
                <a:ea typeface="Rosatom" panose="020B0503040504020204" pitchFamily="34" charset="-52"/>
              </a:rPr>
              <a:t> </a:t>
            </a:r>
            <a:r>
              <a:rPr lang="ru-RU" sz="1600" b="1" dirty="0" smtClean="0">
                <a:latin typeface="Rosatom" panose="020B0503040504020204" pitchFamily="34" charset="-52"/>
                <a:ea typeface="Rosatom" panose="020B0503040504020204" pitchFamily="34" charset="-52"/>
              </a:rPr>
              <a:t>        квоты</a:t>
            </a:r>
            <a:r>
              <a:rPr lang="ru-RU" sz="1600" b="1" dirty="0">
                <a:latin typeface="Rosatom" panose="020B0503040504020204" pitchFamily="34" charset="-52"/>
                <a:ea typeface="Rosatom" panose="020B0503040504020204" pitchFamily="34" charset="-52"/>
              </a:rPr>
              <a:t> </a:t>
            </a:r>
            <a:r>
              <a:rPr lang="ru-RU" sz="1600" b="1" dirty="0" smtClean="0">
                <a:latin typeface="Rosatom" panose="020B0503040504020204" pitchFamily="34" charset="-52"/>
                <a:ea typeface="Rosatom" panose="020B0503040504020204" pitchFamily="34" charset="-52"/>
              </a:rPr>
              <a:t>2022/2023       </a:t>
            </a:r>
            <a:r>
              <a:rPr lang="ru-RU" sz="1600" b="1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кол-во студентов	</a:t>
            </a:r>
            <a:r>
              <a:rPr lang="ru-RU" sz="1600" b="1" dirty="0" smtClean="0">
                <a:latin typeface="Rosatom" panose="020B0503040504020204" pitchFamily="34" charset="-52"/>
                <a:ea typeface="Rosatom" panose="020B0503040504020204" pitchFamily="34" charset="-52"/>
              </a:rPr>
              <a:t>        квоты 2023/2024</a:t>
            </a:r>
            <a:r>
              <a:rPr lang="ru-RU" sz="1600" b="1" dirty="0" smtClean="0">
                <a:latin typeface="Rosatom" panose="020B0503040504020204" pitchFamily="34" charset="-52"/>
                <a:ea typeface="Rosatom" panose="020B0503040504020204" pitchFamily="34" charset="-52"/>
              </a:rPr>
              <a:t>	кол-во студентов</a:t>
            </a:r>
            <a:endParaRPr lang="ru-RU" sz="1600" b="1" dirty="0">
              <a:latin typeface="Rosatom" panose="020B0503040504020204" pitchFamily="34" charset="-52"/>
              <a:ea typeface="Rosatom" panose="020B0503040504020204" pitchFamily="34" charset="-52"/>
            </a:endParaRPr>
          </a:p>
          <a:p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Азербайджан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2</a:t>
            </a:r>
            <a:r>
              <a:rPr lang="en-US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 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      1 бакалавр +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1  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магистр МИФИ	3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	2 магистр+1  аспирант МЭИ </a:t>
            </a:r>
          </a:p>
          <a:p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Армения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	2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 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     1 спец.+1 бакалавр 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МИФИ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5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	4 магистра 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МФТИ, 1 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спец. 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МИФИ</a:t>
            </a:r>
          </a:p>
          <a:p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Беларусь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	5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      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4 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бакалавра и 1 магистр МФТИ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	2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	2 магистра 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МИФИ, МФТИ</a:t>
            </a:r>
          </a:p>
          <a:p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Казахстан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5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 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     5 аспирантов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		8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	4 аспирантов, 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4 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магистра </a:t>
            </a:r>
            <a:endParaRPr lang="ru-RU" sz="1600" dirty="0">
              <a:latin typeface="Rosatom" panose="020B0503040504020204" pitchFamily="34" charset="-52"/>
              <a:ea typeface="Rosatom" panose="020B0503040504020204" pitchFamily="34" charset="-52"/>
            </a:endParaRPr>
          </a:p>
          <a:p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Киргизия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	3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      3 магистра 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МФТИ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	4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	2 бакалавра, 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1 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магистр, 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1 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спец. </a:t>
            </a:r>
            <a:endParaRPr lang="ru-RU" sz="1600" dirty="0">
              <a:latin typeface="Rosatom" panose="020B0503040504020204" pitchFamily="34" charset="-52"/>
              <a:ea typeface="Rosatom" panose="020B0503040504020204" pitchFamily="34" charset="-52"/>
            </a:endParaRPr>
          </a:p>
          <a:p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Таджикистан	3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      3 бакалавра 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МФТИ и МГТУ 	5	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5 магистра 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СПБПУ, МЭИ</a:t>
            </a:r>
          </a:p>
          <a:p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Туркмения	0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			0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</a:p>
          <a:p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Украина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	3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      2 бакалавра 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и 1 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магистра  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МФТИ	0	</a:t>
            </a:r>
          </a:p>
          <a:p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Узбекистан 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5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       5 магистра МИФИ 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	3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  <a:r>
              <a:rPr lang="ru-RU" sz="16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	3 магистра </a:t>
            </a:r>
            <a:r>
              <a:rPr lang="ru-RU" sz="1600" dirty="0">
                <a:latin typeface="Rosatom" panose="020B0503040504020204" pitchFamily="34" charset="-52"/>
                <a:ea typeface="Rosatom" panose="020B0503040504020204" pitchFamily="34" charset="-52"/>
              </a:rPr>
              <a:t>МЭИ, МИФИ </a:t>
            </a:r>
          </a:p>
          <a:p>
            <a:endParaRPr lang="ru-RU" sz="1600" b="1" dirty="0" smtClean="0">
              <a:latin typeface="Rosatom" panose="020B0503040504020204" pitchFamily="34" charset="-52"/>
              <a:ea typeface="Rosatom" panose="020B0503040504020204" pitchFamily="34" charset="-52"/>
            </a:endParaRPr>
          </a:p>
          <a:p>
            <a:r>
              <a:rPr lang="ru-RU" sz="1600" b="1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ИТОГО </a:t>
            </a:r>
            <a:r>
              <a:rPr lang="ru-RU" sz="1600" b="1" dirty="0">
                <a:latin typeface="Rosatom" panose="020B0503040504020204" pitchFamily="34" charset="-52"/>
                <a:ea typeface="Rosatom" panose="020B0503040504020204" pitchFamily="34" charset="-52"/>
              </a:rPr>
              <a:t>квот 	28		</a:t>
            </a:r>
            <a:r>
              <a:rPr lang="ru-RU" sz="1600" b="1" dirty="0" smtClean="0">
                <a:latin typeface="Rosatom" panose="020B0503040504020204" pitchFamily="34" charset="-52"/>
                <a:ea typeface="Rosatom" panose="020B0503040504020204" pitchFamily="34" charset="-52"/>
              </a:rPr>
              <a:t>			30</a:t>
            </a:r>
            <a:r>
              <a:rPr lang="ru-RU" sz="1600" b="1" dirty="0">
                <a:latin typeface="Rosatom" panose="020B0503040504020204" pitchFamily="34" charset="-52"/>
                <a:ea typeface="Rosatom" panose="020B0503040504020204" pitchFamily="34" charset="-52"/>
              </a:rPr>
              <a:t>	</a:t>
            </a:r>
          </a:p>
          <a:p>
            <a:endParaRPr lang="ru-RU" sz="1600" b="1" dirty="0">
              <a:latin typeface="Rosatom" panose="020B0503040504020204" pitchFamily="34" charset="-52"/>
              <a:ea typeface="Rosatom" panose="020B0503040504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6354211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397933" y="549801"/>
            <a:ext cx="9687984" cy="439859"/>
          </a:xfrm>
        </p:spPr>
        <p:txBody>
          <a:bodyPr/>
          <a:lstStyle/>
          <a:p>
            <a:pPr algn="ctr"/>
            <a:r>
              <a:rPr lang="ru-RU" dirty="0" smtClean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  <a:t>ИНФОРМАЦИОННАЯ КАМПАНИЯ: СТОРОННИЕ РЕСУРСЫ</a:t>
            </a:r>
            <a:endParaRPr lang="ru-RU" dirty="0">
              <a:solidFill>
                <a:srgbClr val="002060"/>
              </a:solidFill>
              <a:latin typeface="Rosatom" panose="020B0604020202020204" charset="-52"/>
              <a:ea typeface="Rosatom" panose="020B0604020202020204" charset="-52"/>
              <a:cs typeface="Ebrima" panose="02000000000000000000" pitchFamily="2" charset="0"/>
            </a:endParaRPr>
          </a:p>
        </p:txBody>
      </p:sp>
      <p:pic>
        <p:nvPicPr>
          <p:cNvPr id="2052" name="Рисунок 3" descr="Shov - Shuv UZ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4501" y="1208741"/>
            <a:ext cx="2876550" cy="5095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Рисунок 2" descr="Hozird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0162" y="1218266"/>
            <a:ext cx="2876550" cy="5086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 descr="ҰБТ 2023 ҚАЗАҚСТАН ТАРИХЫ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5823" y="1206112"/>
            <a:ext cx="2790825" cy="508635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397932" y="898335"/>
            <a:ext cx="52916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 kern="0">
                <a:latin typeface="Rosatom" panose="020B0503040504020204" pitchFamily="34" charset="-52"/>
                <a:ea typeface="Rosatom" panose="020B0503040504020204" pitchFamily="34" charset="-52"/>
                <a:cs typeface="Arial Regular" pitchFamily="34" charset="-120"/>
              </a:defRPr>
            </a:lvl1pPr>
          </a:lstStyle>
          <a:p>
            <a:r>
              <a:rPr lang="ru-RU" dirty="0"/>
              <a:t>Примеры </a:t>
            </a:r>
            <a:r>
              <a:rPr lang="ru-RU" dirty="0" smtClean="0"/>
              <a:t>размещения контента и охват аудитории:</a:t>
            </a:r>
            <a:endParaRPr lang="ru-RU" dirty="0"/>
          </a:p>
        </p:txBody>
      </p:sp>
      <p:sp>
        <p:nvSpPr>
          <p:cNvPr id="11" name="Овал 10"/>
          <p:cNvSpPr/>
          <p:nvPr/>
        </p:nvSpPr>
        <p:spPr>
          <a:xfrm>
            <a:off x="3274400" y="5896257"/>
            <a:ext cx="1111206" cy="69253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/>
          <p:cNvSpPr/>
          <p:nvPr/>
        </p:nvSpPr>
        <p:spPr>
          <a:xfrm>
            <a:off x="6480062" y="5896257"/>
            <a:ext cx="1111206" cy="69253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/>
          <p:cNvSpPr/>
          <p:nvPr/>
        </p:nvSpPr>
        <p:spPr>
          <a:xfrm>
            <a:off x="9599937" y="5896257"/>
            <a:ext cx="1111206" cy="69253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7774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876" y="4271167"/>
            <a:ext cx="6788526" cy="2603119"/>
          </a:xfrm>
          <a:prstGeom prst="rect">
            <a:avLst/>
          </a:prstGeom>
        </p:spPr>
      </p:pic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533400" y="549801"/>
            <a:ext cx="9552517" cy="439859"/>
          </a:xfrm>
        </p:spPr>
        <p:txBody>
          <a:bodyPr/>
          <a:lstStyle/>
          <a:p>
            <a:pPr algn="ctr"/>
            <a:r>
              <a:rPr lang="ru-RU" dirty="0" smtClean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  <a:t>ИНФОРМАЦИОННАЯ КАМПАНИЯ: РЕСУРСЫ НИЯУ МИФИ</a:t>
            </a:r>
            <a:endParaRPr lang="ru-RU" dirty="0">
              <a:solidFill>
                <a:srgbClr val="002060"/>
              </a:solidFill>
              <a:latin typeface="Rosatom" panose="020B0604020202020204" charset="-52"/>
              <a:ea typeface="Rosatom" panose="020B0604020202020204" charset="-52"/>
              <a:cs typeface="Ebrima" panose="02000000000000000000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9721" y="1333357"/>
            <a:ext cx="1598664" cy="273262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3199" y="1315397"/>
            <a:ext cx="2042339" cy="27845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67143" y="1007620"/>
            <a:ext cx="38184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 kern="0">
                <a:latin typeface="Rosatom" panose="020B0503040504020204" pitchFamily="34" charset="-52"/>
                <a:ea typeface="Rosatom" panose="020B0503040504020204" pitchFamily="34" charset="-52"/>
                <a:cs typeface="Arial Regular" pitchFamily="34" charset="-120"/>
              </a:defRPr>
            </a:lvl1pPr>
          </a:lstStyle>
          <a:p>
            <a:r>
              <a:rPr lang="ru-RU" dirty="0"/>
              <a:t>Примеры источников и контента: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3400" y="1335634"/>
            <a:ext cx="1710734" cy="2730349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67848" y="1333358"/>
            <a:ext cx="1660563" cy="2766539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80326" y="1315397"/>
            <a:ext cx="2569145" cy="188237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80325" y="3402959"/>
            <a:ext cx="2569145" cy="2871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2877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  <a:t>ИТОГИ ПЕРВОГО ЭТАПА КОНКУРСА</a:t>
            </a:r>
          </a:p>
        </p:txBody>
      </p:sp>
      <p:graphicFrame>
        <p:nvGraphicFramePr>
          <p:cNvPr id="10" name="Диаграмма 9"/>
          <p:cNvGraphicFramePr/>
          <p:nvPr>
            <p:extLst/>
          </p:nvPr>
        </p:nvGraphicFramePr>
        <p:xfrm>
          <a:off x="895149" y="719666"/>
          <a:ext cx="1080523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624812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FFB2D215-DB11-4149-81F9-E68D693CBCBD}"/>
              </a:ext>
            </a:extLst>
          </p:cNvPr>
          <p:cNvSpPr>
            <a:spLocks noChangeAspect="1"/>
          </p:cNvSpPr>
          <p:nvPr/>
        </p:nvSpPr>
        <p:spPr>
          <a:xfrm>
            <a:off x="406797" y="-16315"/>
            <a:ext cx="11298521" cy="424686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97000">
                <a:schemeClr val="accent3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Цель: 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поддержка талантливых студентов из стран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СНГ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" panose="020B060402020202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1696754" y="969168"/>
            <a:ext cx="10485721" cy="1265238"/>
          </a:xfrm>
          <a:prstGeom prst="rect">
            <a:avLst/>
          </a:prstGeom>
          <a:solidFill>
            <a:schemeClr val="accent2">
              <a:lumMod val="20000"/>
              <a:lumOff val="8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3900" lvl="0" algn="just" defTabSz="1218072"/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satom" panose="020B0503040504020204" pitchFamily="34" charset="-52"/>
              <a:ea typeface="Rosatom" panose="020B0503040504020204" pitchFamily="34" charset="-52"/>
              <a:cs typeface="Arial" panose="020B0604020202020204" pitchFamily="34" charset="0"/>
            </a:endParaRPr>
          </a:p>
          <a:p>
            <a:pPr marL="1009650" lvl="0" indent="-285750" algn="just" defTabSz="1218072">
              <a:buFont typeface="Arial" panose="020B0604020202020204" pitchFamily="34" charset="0"/>
              <a:buChar char="•"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satom" panose="020B0503040504020204" pitchFamily="34" charset="-52"/>
                <a:ea typeface="Rosatom" panose="020B0503040504020204" pitchFamily="34" charset="-52"/>
                <a:cs typeface="Arial" panose="020B0604020202020204" pitchFamily="34" charset="0"/>
              </a:rPr>
              <a:t>Удержание 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satom" panose="020B0503040504020204" pitchFamily="34" charset="-52"/>
                <a:ea typeface="Rosatom" panose="020B0503040504020204" pitchFamily="34" charset="-52"/>
                <a:cs typeface="Arial" panose="020B0604020202020204" pitchFamily="34" charset="0"/>
              </a:rPr>
              <a:t>высококвалифицированных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satom" panose="020B0503040504020204" pitchFamily="34" charset="-52"/>
                <a:ea typeface="Rosatom" panose="020B0503040504020204" pitchFamily="34" charset="-52"/>
                <a:cs typeface="Arial" panose="020B0604020202020204" pitchFamily="34" charset="0"/>
              </a:rPr>
              <a:t>выпускников вузов 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satom" panose="020B0503040504020204" pitchFamily="34" charset="-52"/>
                <a:ea typeface="Rosatom" panose="020B0503040504020204" pitchFamily="34" charset="-52"/>
                <a:cs typeface="Arial" panose="020B0604020202020204" pitchFamily="34" charset="0"/>
              </a:rPr>
              <a:t>для реализации национальных ядерных </a:t>
            </a:r>
            <a:r>
              <a:rPr lang="ru-RU" sz="1600" dirty="0" smtClean="0">
                <a:solidFill>
                  <a:srgbClr val="000000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" panose="020B0604020202020204" pitchFamily="34" charset="0"/>
              </a:rPr>
              <a:t>программ</a:t>
            </a:r>
          </a:p>
          <a:p>
            <a:pPr marL="1009650" lvl="0" indent="-285750" algn="just" defTabSz="1218072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" panose="020B0604020202020204" pitchFamily="34" charset="0"/>
              </a:rPr>
              <a:t>Создание </a:t>
            </a:r>
            <a:r>
              <a:rPr lang="ru-RU" sz="1600" dirty="0">
                <a:solidFill>
                  <a:srgbClr val="000000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" panose="020B0604020202020204" pitchFamily="34" charset="0"/>
              </a:rPr>
              <a:t>условий для роста профессиональной компетентности </a:t>
            </a:r>
            <a:r>
              <a:rPr lang="ru-RU" sz="1600" dirty="0" smtClean="0">
                <a:solidFill>
                  <a:srgbClr val="000000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" panose="020B0604020202020204" pitchFamily="34" charset="0"/>
              </a:rPr>
              <a:t>в целях </a:t>
            </a:r>
            <a:r>
              <a:rPr lang="ru-RU" sz="1600" dirty="0">
                <a:solidFill>
                  <a:srgbClr val="000000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" panose="020B0604020202020204" pitchFamily="34" charset="0"/>
              </a:rPr>
              <a:t>формирования профессионального сообщества молодых лидеров, способных создавать и воплощать новаторские идеи в области атомных технологий в государствах – участниках </a:t>
            </a:r>
            <a:r>
              <a:rPr lang="ru-RU" sz="1600" dirty="0" smtClean="0">
                <a:solidFill>
                  <a:srgbClr val="000000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" panose="020B0604020202020204" pitchFamily="34" charset="0"/>
              </a:rPr>
              <a:t>СНГ</a:t>
            </a:r>
            <a:endParaRPr lang="ru-RU" sz="1600" dirty="0">
              <a:solidFill>
                <a:srgbClr val="000000"/>
              </a:solidFill>
              <a:latin typeface="Rosatom" panose="020B0503040504020204" pitchFamily="34" charset="-52"/>
              <a:ea typeface="Rosatom" panose="020B0503040504020204" pitchFamily="34" charset="-52"/>
              <a:cs typeface="Arial" panose="020B0604020202020204" pitchFamily="34" charset="0"/>
            </a:endParaRPr>
          </a:p>
          <a:p>
            <a:pPr marL="723900" marR="0" lvl="0" indent="0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" panose="020B060402020202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323850" y="481013"/>
            <a:ext cx="9220200" cy="431800"/>
          </a:xfrm>
          <a:prstGeom prst="rect">
            <a:avLst/>
          </a:prstGeom>
        </p:spPr>
        <p:txBody>
          <a:bodyPr/>
          <a:lstStyle/>
          <a:p>
            <a:r>
              <a:rPr lang="ru-RU" sz="2398" b="1" dirty="0">
                <a:solidFill>
                  <a:srgbClr val="002060"/>
                </a:solidFill>
                <a:latin typeface="Rosatom" panose="020B0503040504020204" pitchFamily="34" charset="-52"/>
                <a:ea typeface="Rosatom" panose="020B0503040504020204" pitchFamily="34" charset="-52"/>
                <a:cs typeface="Calibri" panose="020F0502020204030204" pitchFamily="34" charset="0"/>
              </a:rPr>
              <a:t>СТИПЕНДИЯ РОСАТОМА ДЛЯ СТУДЕНТОВ ИЗ СТРАН </a:t>
            </a:r>
            <a:r>
              <a:rPr lang="ru-RU" sz="2398" b="1" dirty="0" smtClean="0">
                <a:solidFill>
                  <a:srgbClr val="002060"/>
                </a:solidFill>
                <a:latin typeface="Rosatom" panose="020B0503040504020204" pitchFamily="34" charset="-52"/>
                <a:ea typeface="Rosatom" panose="020B0503040504020204" pitchFamily="34" charset="-52"/>
                <a:cs typeface="Calibri" panose="020F0502020204030204" pitchFamily="34" charset="0"/>
              </a:rPr>
              <a:t>СНГ</a:t>
            </a:r>
            <a:endParaRPr lang="ru-RU" sz="2398" b="1" dirty="0">
              <a:solidFill>
                <a:srgbClr val="002060"/>
              </a:solidFill>
              <a:latin typeface="Rosatom" panose="020B0503040504020204" pitchFamily="34" charset="-52"/>
              <a:ea typeface="Rosatom" panose="020B0503040504020204" pitchFamily="34" charset="-52"/>
              <a:cs typeface="Calibri" panose="020F0502020204030204" pitchFamily="34" charset="0"/>
            </a:endParaRPr>
          </a:p>
        </p:txBody>
      </p:sp>
      <p:sp>
        <p:nvSpPr>
          <p:cNvPr id="51" name="Пятиугольник 50"/>
          <p:cNvSpPr/>
          <p:nvPr/>
        </p:nvSpPr>
        <p:spPr>
          <a:xfrm>
            <a:off x="530622" y="973138"/>
            <a:ext cx="1835207" cy="1204912"/>
          </a:xfrm>
          <a:prstGeom prst="homePlate">
            <a:avLst>
              <a:gd name="adj" fmla="val 3027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ЗАДАЧИ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696754" y="2238375"/>
            <a:ext cx="10122864" cy="1339850"/>
          </a:xfrm>
          <a:prstGeom prst="rect">
            <a:avLst/>
          </a:prstGeom>
          <a:solidFill>
            <a:schemeClr val="accent2">
              <a:lumMod val="20000"/>
              <a:lumOff val="8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3900" lvl="0" defTabSz="1218072"/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Студенты с высоким профессиональным потенциалом,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обучающиеся по атомным и смежным направлениям, </a:t>
            </a:r>
            <a:r>
              <a:rPr lang="ru-RU" sz="1600" dirty="0" smtClean="0">
                <a:solidFill>
                  <a:srgbClr val="000000"/>
                </a:solidFill>
                <a:ea typeface="Rosatom" panose="020B0503040504020204" pitchFamily="34" charset="-52"/>
                <a:cs typeface="Arial" panose="020B0604020202020204" pitchFamily="34" charset="0"/>
              </a:rPr>
              <a:t>достигшие </a:t>
            </a:r>
            <a:r>
              <a:rPr lang="ru-RU" sz="1600" dirty="0">
                <a:solidFill>
                  <a:srgbClr val="000000"/>
                </a:solidFill>
                <a:ea typeface="Rosatom" panose="020B0503040504020204" pitchFamily="34" charset="-52"/>
                <a:cs typeface="Arial" panose="020B0604020202020204" pitchFamily="34" charset="0"/>
              </a:rPr>
              <a:t>высоких результатов в учебе и </a:t>
            </a:r>
            <a:r>
              <a:rPr lang="ru-RU" sz="1600" dirty="0" smtClean="0">
                <a:solidFill>
                  <a:srgbClr val="000000"/>
                </a:solidFill>
                <a:ea typeface="Rosatom" panose="020B0503040504020204" pitchFamily="34" charset="-52"/>
                <a:cs typeface="Arial" panose="020B0604020202020204" pitchFamily="34" charset="0"/>
              </a:rPr>
              <a:t>научной деятельности, </a:t>
            </a:r>
            <a:r>
              <a:rPr lang="ru-RU" sz="1600" dirty="0">
                <a:solidFill>
                  <a:srgbClr val="000000"/>
                </a:solidFill>
                <a:ea typeface="Rosatom" panose="020B0503040504020204" pitchFamily="34" charset="-52"/>
                <a:cs typeface="Arial" panose="020B0604020202020204" pitchFamily="34" charset="0"/>
              </a:rPr>
              <a:t>а также </a:t>
            </a:r>
            <a:r>
              <a:rPr lang="ru-RU" sz="1600" dirty="0" smtClean="0">
                <a:solidFill>
                  <a:srgbClr val="000000"/>
                </a:solidFill>
                <a:ea typeface="Rosatom" panose="020B0503040504020204" pitchFamily="34" charset="-52"/>
                <a:cs typeface="Arial" panose="020B0604020202020204" pitchFamily="34" charset="0"/>
              </a:rPr>
              <a:t>ставшие </a:t>
            </a:r>
            <a:r>
              <a:rPr lang="ru-RU" sz="1600" dirty="0">
                <a:solidFill>
                  <a:srgbClr val="000000"/>
                </a:solidFill>
                <a:ea typeface="Rosatom" panose="020B0503040504020204" pitchFamily="34" charset="-52"/>
                <a:cs typeface="Arial" panose="020B0604020202020204" pitchFamily="34" charset="0"/>
              </a:rPr>
              <a:t>призерами различных олимпиад, соревнований, </a:t>
            </a:r>
            <a:r>
              <a:rPr lang="ru-RU" sz="1600" dirty="0" smtClean="0">
                <a:solidFill>
                  <a:srgbClr val="000000"/>
                </a:solidFill>
                <a:ea typeface="Rosatom" panose="020B0503040504020204" pitchFamily="34" charset="-52"/>
                <a:cs typeface="Arial" panose="020B0604020202020204" pitchFamily="34" charset="0"/>
              </a:rPr>
              <a:t>конкурсов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 и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мотивированные к дальнейшему развитию и работе в национальных ядерных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проектах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" panose="020B0604020202020204" pitchFamily="34" charset="0"/>
            </a:endParaRPr>
          </a:p>
        </p:txBody>
      </p:sp>
      <p:sp>
        <p:nvSpPr>
          <p:cNvPr id="55" name="Пятиугольник 54"/>
          <p:cNvSpPr/>
          <p:nvPr/>
        </p:nvSpPr>
        <p:spPr>
          <a:xfrm>
            <a:off x="530622" y="2238375"/>
            <a:ext cx="1835207" cy="1296988"/>
          </a:xfrm>
          <a:prstGeom prst="homePlate">
            <a:avLst>
              <a:gd name="adj" fmla="val 2867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Noto Serif Light" panose="02020402060505020204" pitchFamily="18"/>
                <a:cs typeface="Noto Serif Light" panose="02020402060505020204" pitchFamily="18"/>
              </a:rPr>
              <a:t>ЦЕЛЕВА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Noto Serif Light" panose="02020402060505020204" pitchFamily="18"/>
                <a:cs typeface="Noto Serif Light" panose="02020402060505020204" pitchFamily="18"/>
              </a:rPr>
              <a:t>АУДИТОРИЯ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Noto Serif Light" panose="02020402060505020204" pitchFamily="18"/>
              <a:cs typeface="Noto Serif Light" panose="02020402060505020204" pitchFamily="18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1706279" y="3648075"/>
            <a:ext cx="10122864" cy="1076326"/>
          </a:xfrm>
          <a:prstGeom prst="rect">
            <a:avLst/>
          </a:prstGeom>
          <a:solidFill>
            <a:schemeClr val="accent2">
              <a:lumMod val="20000"/>
              <a:lumOff val="8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ctr"/>
          <a:lstStyle/>
          <a:p>
            <a:pPr marL="723900" marR="0" lvl="0" indent="39688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 Ежемесячная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стипендия в размере 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" panose="020B0604020202020204" pitchFamily="34" charset="0"/>
            </a:endParaRPr>
          </a:p>
          <a:p>
            <a:pPr marL="723900" marR="0" lvl="0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  20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000 руб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.</a:t>
            </a:r>
          </a:p>
          <a:p>
            <a:pPr marL="1009650" lvl="0" indent="-285750" defTabSz="1218072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ea typeface="Rosatom" panose="020B0503040504020204" pitchFamily="34" charset="-52"/>
                <a:cs typeface="Arial" panose="020B0604020202020204" pitchFamily="34" charset="0"/>
              </a:rPr>
              <a:t>Стоимость обучения по атомными и     смежным направлениям</a:t>
            </a:r>
          </a:p>
          <a:p>
            <a:pPr marL="723900" marR="0" lvl="0" indent="0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" panose="020B0604020202020204" pitchFamily="34" charset="0"/>
            </a:endParaRPr>
          </a:p>
          <a:p>
            <a:pPr marL="0" marR="0" lvl="0" indent="39688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 Практики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на базе предприятий Росатома</a:t>
            </a:r>
          </a:p>
          <a:p>
            <a:pPr marL="0" marR="0" lvl="0" indent="39688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 Участие 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в международных отраслевых мероприятиях и проектах Росатома </a:t>
            </a:r>
          </a:p>
          <a:p>
            <a:pPr marL="0" marR="0" lvl="0" indent="39688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 Содействие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трудоустройству на Родине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7" name="Пятиугольник 56"/>
          <p:cNvSpPr/>
          <p:nvPr/>
        </p:nvSpPr>
        <p:spPr>
          <a:xfrm>
            <a:off x="530622" y="3648074"/>
            <a:ext cx="1835207" cy="1109664"/>
          </a:xfrm>
          <a:prstGeom prst="homePlate">
            <a:avLst>
              <a:gd name="adj" fmla="val 3726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99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СТРУКТУРА СТИПЕНДИИ </a:t>
            </a:r>
            <a:r>
              <a:rPr kumimoji="0" lang="ru-RU" sz="1599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РОСАТОМА</a:t>
            </a:r>
            <a:endParaRPr kumimoji="0" lang="ru-RU" sz="15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8" name="Пятиугольник 57"/>
          <p:cNvSpPr/>
          <p:nvPr/>
        </p:nvSpPr>
        <p:spPr>
          <a:xfrm>
            <a:off x="530621" y="4827587"/>
            <a:ext cx="1835207" cy="1600200"/>
          </a:xfrm>
          <a:prstGeom prst="homePlate">
            <a:avLst>
              <a:gd name="adj" fmla="val 25604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99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КРИТЕРИИ </a:t>
            </a:r>
            <a:r>
              <a:rPr kumimoji="0" lang="ru-RU" sz="1599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ОТБОРА</a:t>
            </a:r>
            <a:endParaRPr kumimoji="0" lang="ru-RU" sz="15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1696754" y="4827587"/>
            <a:ext cx="10122864" cy="1600200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ctr"/>
          <a:lstStyle/>
          <a:p>
            <a:pPr marL="704850"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b="1" dirty="0" smtClean="0">
                <a:solidFill>
                  <a:srgbClr val="333333"/>
                </a:solidFill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I </a:t>
            </a:r>
            <a:r>
              <a:rPr lang="ru-RU" sz="1600" b="1" dirty="0" smtClean="0">
                <a:solidFill>
                  <a:srgbClr val="333333"/>
                </a:solidFill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этап:</a:t>
            </a:r>
          </a:p>
          <a:p>
            <a:pPr marL="99060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600" dirty="0" smtClean="0">
                <a:solidFill>
                  <a:srgbClr val="333333"/>
                </a:solidFill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Обучение в м</a:t>
            </a:r>
            <a:r>
              <a:rPr kumimoji="0" 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агистратуре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 на 1 и 2 курсе </a:t>
            </a:r>
          </a:p>
          <a:p>
            <a:pPr marL="704850"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в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одном из опорных вузов </a:t>
            </a:r>
            <a:r>
              <a:rPr lang="ru-RU" sz="1600" dirty="0" smtClean="0">
                <a:solidFill>
                  <a:srgbClr val="333333"/>
                </a:solidFill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по квоте по линии </a:t>
            </a:r>
            <a:r>
              <a:rPr lang="ru-RU" sz="1600" dirty="0" err="1" smtClean="0">
                <a:solidFill>
                  <a:srgbClr val="333333"/>
                </a:solidFill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Росатома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" panose="020B0604020202020204" pitchFamily="34" charset="0"/>
            </a:endParaRPr>
          </a:p>
          <a:p>
            <a:pPr marL="723900" marR="0" lvl="0" indent="-190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 Средний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балл не ниже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4,5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" panose="020B0604020202020204" pitchFamily="34" charset="0"/>
            </a:endParaRPr>
          </a:p>
          <a:p>
            <a:pPr marL="723900" marR="0" lvl="0" indent="-190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 Гражданство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страны-участницы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СНГ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" panose="020B0604020202020204" pitchFamily="34" charset="0"/>
            </a:endParaRPr>
          </a:p>
          <a:p>
            <a:pPr marL="723900" marR="0" lvl="0" indent="-190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600" dirty="0">
                <a:solidFill>
                  <a:srgbClr val="333333"/>
                </a:solidFill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 </a:t>
            </a:r>
            <a:r>
              <a:rPr lang="ru-RU" sz="1600" dirty="0" smtClean="0">
                <a:solidFill>
                  <a:srgbClr val="333333"/>
                </a:solidFill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По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беды</a:t>
            </a:r>
            <a:r>
              <a:rPr kumimoji="0" lang="ru-RU" sz="1600" b="0" i="0" u="none" strike="noStrike" kern="1200" cap="none" spc="0" normalizeH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 в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олимпиадах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или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конкурсах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" panose="020B0604020202020204" pitchFamily="34" charset="0"/>
            </a:endParaRPr>
          </a:p>
          <a:p>
            <a:pPr marL="19050" marR="0" lvl="0" indent="-190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 Научная</a:t>
            </a:r>
            <a:r>
              <a:rPr kumimoji="0" lang="ru-RU" sz="1600" b="0" i="0" u="none" strike="noStrike" kern="1200" cap="none" spc="0" normalizeH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 деятельность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" panose="020B0604020202020204" pitchFamily="34" charset="0"/>
            </a:endParaRPr>
          </a:p>
          <a:p>
            <a:pPr marL="19050" indent="-19050" defTabSz="457200">
              <a:buFont typeface="Arial" panose="020B0604020202020204" pitchFamily="34" charset="0"/>
              <a:buChar char="•"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333333"/>
                </a:solidFill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Н</a:t>
            </a:r>
            <a:r>
              <a:rPr kumimoji="0" 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аличие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 рекомендации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вузов и национальных организаций, реализующих ядерные проекты в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стране</a:t>
            </a:r>
          </a:p>
          <a:p>
            <a:pPr defTabSz="457200"/>
            <a:r>
              <a:rPr lang="en-US" sz="1600" dirty="0" smtClean="0">
                <a:solidFill>
                  <a:srgbClr val="333333"/>
                </a:solidFill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I</a:t>
            </a:r>
            <a:r>
              <a:rPr lang="en-US" sz="1600" b="1" dirty="0" smtClean="0">
                <a:solidFill>
                  <a:srgbClr val="333333"/>
                </a:solidFill>
                <a:ea typeface="Rosatom" panose="020B0503040504020204" pitchFamily="34" charset="-52"/>
                <a:cs typeface="Arial" panose="020B0604020202020204" pitchFamily="34" charset="0"/>
              </a:rPr>
              <a:t>I </a:t>
            </a:r>
            <a:r>
              <a:rPr lang="ru-RU" sz="1600" b="1" dirty="0">
                <a:solidFill>
                  <a:srgbClr val="333333"/>
                </a:solidFill>
                <a:ea typeface="Rosatom" panose="020B0503040504020204" pitchFamily="34" charset="-52"/>
                <a:cs typeface="Arial" panose="020B0604020202020204" pitchFamily="34" charset="0"/>
              </a:rPr>
              <a:t>этап:</a:t>
            </a:r>
          </a:p>
          <a:p>
            <a:pPr marL="19050" marR="0" lvl="0" indent="-190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решение</a:t>
            </a:r>
            <a:r>
              <a:rPr kumimoji="0" lang="ru-RU" sz="1600" b="0" i="0" u="none" strike="noStrike" kern="1200" cap="none" spc="0" normalizeH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" panose="020B0604020202020204" pitchFamily="34" charset="0"/>
              </a:rPr>
              <a:t> 5 практических кейсов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9776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61564081-1F1A-4087-BAB2-D84B18AD777E}"/>
              </a:ext>
            </a:extLst>
          </p:cNvPr>
          <p:cNvGrpSpPr/>
          <p:nvPr/>
        </p:nvGrpSpPr>
        <p:grpSpPr>
          <a:xfrm>
            <a:off x="10573640" y="2782054"/>
            <a:ext cx="180000" cy="1717574"/>
            <a:chOff x="4895314" y="1303189"/>
            <a:chExt cx="135250" cy="1290568"/>
          </a:xfrm>
        </p:grpSpPr>
        <p:cxnSp>
          <p:nvCxnSpPr>
            <p:cNvPr id="51" name="Прямая соединительная линия 50">
              <a:extLst>
                <a:ext uri="{FF2B5EF4-FFF2-40B4-BE49-F238E27FC236}">
                  <a16:creationId xmlns:a16="http://schemas.microsoft.com/office/drawing/2014/main" id="{46DCDF93-95FC-EB4B-A023-C6C6855E62C2}"/>
                </a:ext>
              </a:extLst>
            </p:cNvPr>
            <p:cNvCxnSpPr>
              <a:cxnSpLocks/>
              <a:stCxn id="52" idx="4"/>
            </p:cNvCxnSpPr>
            <p:nvPr/>
          </p:nvCxnSpPr>
          <p:spPr>
            <a:xfrm flipH="1">
              <a:off x="4952892" y="1438438"/>
              <a:ext cx="10047" cy="1155319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Блок-схема: узел 51">
              <a:extLst>
                <a:ext uri="{FF2B5EF4-FFF2-40B4-BE49-F238E27FC236}">
                  <a16:creationId xmlns:a16="http://schemas.microsoft.com/office/drawing/2014/main" id="{B29C23D8-8735-406D-A20F-B5A7D85F2150}"/>
                </a:ext>
              </a:extLst>
            </p:cNvPr>
            <p:cNvSpPr/>
            <p:nvPr/>
          </p:nvSpPr>
          <p:spPr>
            <a:xfrm>
              <a:off x="4895314" y="1303189"/>
              <a:ext cx="135250" cy="135250"/>
            </a:xfrm>
            <a:prstGeom prst="flowChartConnector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7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19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73" name="Группа 72">
            <a:extLst>
              <a:ext uri="{FF2B5EF4-FFF2-40B4-BE49-F238E27FC236}">
                <a16:creationId xmlns:a16="http://schemas.microsoft.com/office/drawing/2014/main" id="{9A34FD2B-6B91-44E0-A95B-C4369DCF32CE}"/>
              </a:ext>
            </a:extLst>
          </p:cNvPr>
          <p:cNvGrpSpPr/>
          <p:nvPr/>
        </p:nvGrpSpPr>
        <p:grpSpPr>
          <a:xfrm>
            <a:off x="7508573" y="2551038"/>
            <a:ext cx="180000" cy="1966077"/>
            <a:chOff x="4898883" y="1285523"/>
            <a:chExt cx="106704" cy="1290570"/>
          </a:xfrm>
        </p:grpSpPr>
        <p:cxnSp>
          <p:nvCxnSpPr>
            <p:cNvPr id="78" name="Прямая соединительная линия 77">
              <a:extLst>
                <a:ext uri="{FF2B5EF4-FFF2-40B4-BE49-F238E27FC236}">
                  <a16:creationId xmlns:a16="http://schemas.microsoft.com/office/drawing/2014/main" id="{C0524C12-E098-43E3-91E7-D8B3DF3441A4}"/>
                </a:ext>
              </a:extLst>
            </p:cNvPr>
            <p:cNvCxnSpPr>
              <a:cxnSpLocks/>
            </p:cNvCxnSpPr>
            <p:nvPr/>
          </p:nvCxnSpPr>
          <p:spPr>
            <a:xfrm>
              <a:off x="4952883" y="1334008"/>
              <a:ext cx="0" cy="1242085"/>
            </a:xfrm>
            <a:prstGeom prst="line">
              <a:avLst/>
            </a:prstGeom>
            <a:ln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Блок-схема: узел 78">
              <a:extLst>
                <a:ext uri="{FF2B5EF4-FFF2-40B4-BE49-F238E27FC236}">
                  <a16:creationId xmlns:a16="http://schemas.microsoft.com/office/drawing/2014/main" id="{50BF3628-5617-4830-B31D-CFAB4C09F124}"/>
                </a:ext>
              </a:extLst>
            </p:cNvPr>
            <p:cNvSpPr/>
            <p:nvPr/>
          </p:nvSpPr>
          <p:spPr>
            <a:xfrm>
              <a:off x="4898883" y="1285523"/>
              <a:ext cx="106704" cy="118155"/>
            </a:xfrm>
            <a:prstGeom prst="flowChartConnector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7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19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02A901A0-4154-4045-83FC-D73083543A91}"/>
              </a:ext>
            </a:extLst>
          </p:cNvPr>
          <p:cNvGrpSpPr/>
          <p:nvPr/>
        </p:nvGrpSpPr>
        <p:grpSpPr>
          <a:xfrm>
            <a:off x="497145" y="3200890"/>
            <a:ext cx="180000" cy="1300667"/>
            <a:chOff x="7718393" y="1682124"/>
            <a:chExt cx="114770" cy="893969"/>
          </a:xfrm>
          <a:solidFill>
            <a:schemeClr val="accent1"/>
          </a:solidFill>
        </p:grpSpPr>
        <p:cxnSp>
          <p:nvCxnSpPr>
            <p:cNvPr id="61" name="Прямая соединительная линия 60">
              <a:extLst>
                <a:ext uri="{FF2B5EF4-FFF2-40B4-BE49-F238E27FC236}">
                  <a16:creationId xmlns:a16="http://schemas.microsoft.com/office/drawing/2014/main" id="{46DCDF93-95FC-EB4B-A023-C6C6855E62C2}"/>
                </a:ext>
              </a:extLst>
            </p:cNvPr>
            <p:cNvCxnSpPr>
              <a:cxnSpLocks/>
              <a:stCxn id="62" idx="4"/>
            </p:cNvCxnSpPr>
            <p:nvPr/>
          </p:nvCxnSpPr>
          <p:spPr>
            <a:xfrm flipH="1">
              <a:off x="7769355" y="1805841"/>
              <a:ext cx="6423" cy="770252"/>
            </a:xfrm>
            <a:prstGeom prst="line">
              <a:avLst/>
            </a:prstGeom>
            <a:ln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Блок-схема: узел 61">
              <a:extLst>
                <a:ext uri="{FF2B5EF4-FFF2-40B4-BE49-F238E27FC236}">
                  <a16:creationId xmlns:a16="http://schemas.microsoft.com/office/drawing/2014/main" id="{3C5F9667-B740-4439-B82B-2B4ED3E87B1A}"/>
                </a:ext>
              </a:extLst>
            </p:cNvPr>
            <p:cNvSpPr/>
            <p:nvPr/>
          </p:nvSpPr>
          <p:spPr>
            <a:xfrm>
              <a:off x="7718393" y="1682124"/>
              <a:ext cx="114770" cy="123717"/>
            </a:xfrm>
            <a:prstGeom prst="flowChartConnector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7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19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61564081-1F1A-4087-BAB2-D84B18AD777E}"/>
              </a:ext>
            </a:extLst>
          </p:cNvPr>
          <p:cNvGrpSpPr/>
          <p:nvPr/>
        </p:nvGrpSpPr>
        <p:grpSpPr>
          <a:xfrm>
            <a:off x="4156514" y="2296407"/>
            <a:ext cx="180000" cy="2194639"/>
            <a:chOff x="4898883" y="1285524"/>
            <a:chExt cx="109860" cy="1290569"/>
          </a:xfrm>
          <a:solidFill>
            <a:schemeClr val="accent1"/>
          </a:solidFill>
        </p:grpSpPr>
        <p:cxnSp>
          <p:nvCxnSpPr>
            <p:cNvPr id="55" name="Прямая соединительная линия 54">
              <a:extLst>
                <a:ext uri="{FF2B5EF4-FFF2-40B4-BE49-F238E27FC236}">
                  <a16:creationId xmlns:a16="http://schemas.microsoft.com/office/drawing/2014/main" id="{46DCDF93-95FC-EB4B-A023-C6C6855E62C2}"/>
                </a:ext>
              </a:extLst>
            </p:cNvPr>
            <p:cNvCxnSpPr>
              <a:cxnSpLocks/>
              <a:stCxn id="56" idx="4"/>
            </p:cNvCxnSpPr>
            <p:nvPr/>
          </p:nvCxnSpPr>
          <p:spPr>
            <a:xfrm flipH="1">
              <a:off x="4952883" y="1391374"/>
              <a:ext cx="930" cy="1184719"/>
            </a:xfrm>
            <a:prstGeom prst="line">
              <a:avLst/>
            </a:prstGeom>
            <a:ln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Блок-схема: узел 55">
              <a:extLst>
                <a:ext uri="{FF2B5EF4-FFF2-40B4-BE49-F238E27FC236}">
                  <a16:creationId xmlns:a16="http://schemas.microsoft.com/office/drawing/2014/main" id="{B29C23D8-8735-406D-A20F-B5A7D85F2150}"/>
                </a:ext>
              </a:extLst>
            </p:cNvPr>
            <p:cNvSpPr/>
            <p:nvPr/>
          </p:nvSpPr>
          <p:spPr>
            <a:xfrm>
              <a:off x="4898883" y="1285524"/>
              <a:ext cx="109860" cy="105850"/>
            </a:xfrm>
            <a:prstGeom prst="flowChartConnector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7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19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02A901A0-4154-4045-83FC-D73083543A91}"/>
              </a:ext>
            </a:extLst>
          </p:cNvPr>
          <p:cNvGrpSpPr/>
          <p:nvPr/>
        </p:nvGrpSpPr>
        <p:grpSpPr>
          <a:xfrm>
            <a:off x="5189445" y="3287581"/>
            <a:ext cx="108000" cy="1189753"/>
            <a:chOff x="7726092" y="1682125"/>
            <a:chExt cx="81150" cy="893968"/>
          </a:xfrm>
          <a:solidFill>
            <a:schemeClr val="accent3"/>
          </a:solidFill>
        </p:grpSpPr>
        <p:cxnSp>
          <p:nvCxnSpPr>
            <p:cNvPr id="58" name="Прямая соединительная линия 57">
              <a:extLst>
                <a:ext uri="{FF2B5EF4-FFF2-40B4-BE49-F238E27FC236}">
                  <a16:creationId xmlns:a16="http://schemas.microsoft.com/office/drawing/2014/main" id="{46DCDF93-95FC-EB4B-A023-C6C6855E62C2}"/>
                </a:ext>
              </a:extLst>
            </p:cNvPr>
            <p:cNvCxnSpPr>
              <a:cxnSpLocks/>
              <a:stCxn id="59" idx="4"/>
            </p:cNvCxnSpPr>
            <p:nvPr/>
          </p:nvCxnSpPr>
          <p:spPr>
            <a:xfrm>
              <a:off x="7766667" y="1763275"/>
              <a:ext cx="2688" cy="812818"/>
            </a:xfrm>
            <a:prstGeom prst="line">
              <a:avLst/>
            </a:prstGeom>
            <a:grpFill/>
            <a:ln w="12700" cap="flat" cmpd="sng" algn="ctr">
              <a:solidFill>
                <a:srgbClr val="6FABDD"/>
              </a:solidFill>
              <a:prstDash val="sysDot"/>
              <a:miter lim="800000"/>
            </a:ln>
            <a:effectLst/>
          </p:spPr>
        </p:cxnSp>
        <p:sp>
          <p:nvSpPr>
            <p:cNvPr id="59" name="Блок-схема: узел 58">
              <a:extLst>
                <a:ext uri="{FF2B5EF4-FFF2-40B4-BE49-F238E27FC236}">
                  <a16:creationId xmlns:a16="http://schemas.microsoft.com/office/drawing/2014/main" id="{3C5F9667-B740-4439-B82B-2B4ED3E87B1A}"/>
                </a:ext>
              </a:extLst>
            </p:cNvPr>
            <p:cNvSpPr/>
            <p:nvPr/>
          </p:nvSpPr>
          <p:spPr>
            <a:xfrm>
              <a:off x="7726092" y="1682125"/>
              <a:ext cx="81150" cy="81150"/>
            </a:xfrm>
            <a:prstGeom prst="flowChartConnector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7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19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" name="Прямоугольник 4"/>
          <p:cNvSpPr/>
          <p:nvPr/>
        </p:nvSpPr>
        <p:spPr>
          <a:xfrm>
            <a:off x="5244817" y="1353627"/>
            <a:ext cx="1596821" cy="5843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Утверждение  полуфинального рейтинга заявителей</a:t>
            </a:r>
            <a:endParaRPr kumimoji="0" lang="ru-RU" sz="1066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 Regular" pitchFamily="34" charset="-12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-117116" y="2638948"/>
            <a:ext cx="1425672" cy="4203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Анонс </a:t>
            </a:r>
          </a:p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Конкурса</a:t>
            </a:r>
            <a:endParaRPr kumimoji="0" lang="ru-RU" sz="1066" b="1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 Regular" pitchFamily="34" charset="-12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95621" y="2812246"/>
            <a:ext cx="1389925" cy="748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Рассылка</a:t>
            </a:r>
          </a:p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п</a:t>
            </a: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о опорным ВУЗам ГК «Росатом»</a:t>
            </a:r>
            <a:endParaRPr kumimoji="0" lang="ru-RU" sz="1066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 Regular" pitchFamily="34" charset="-12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97145" y="4560496"/>
            <a:ext cx="2137518" cy="297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1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+mn-cs"/>
              </a:rPr>
              <a:t>июнь - июль 2023</a:t>
            </a:r>
            <a:endParaRPr kumimoji="0" lang="ru-RU" sz="1331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353121" y="3031918"/>
            <a:ext cx="2175992" cy="5843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Работа экспертов</a:t>
            </a:r>
          </a:p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Конкурсной комиссии </a:t>
            </a:r>
          </a:p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н</a:t>
            </a: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а втором этапе</a:t>
            </a:r>
            <a:endParaRPr kumimoji="0" lang="ru-RU" sz="1066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 Regular" pitchFamily="34" charset="-12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147179" y="1429805"/>
            <a:ext cx="1800574" cy="748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Формирование </a:t>
            </a:r>
          </a:p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основного и </a:t>
            </a:r>
          </a:p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резервного списка стипендиатов</a:t>
            </a:r>
            <a:endParaRPr kumimoji="0" lang="ru-RU" sz="1066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 Regular" pitchFamily="34" charset="-12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233374" y="1231621"/>
            <a:ext cx="1993920" cy="10764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Первый этап </a:t>
            </a:r>
          </a:p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(</a:t>
            </a:r>
            <a:r>
              <a:rPr kumimoji="0" lang="ru-RU" sz="1066" b="0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э</a:t>
            </a: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кспертиза и оценка заявок и формирование списка полуфиналистов)</a:t>
            </a:r>
          </a:p>
          <a:p>
            <a:pPr lvl="0" algn="ctr" defTabSz="1217585">
              <a:defRPr/>
            </a:pPr>
            <a:r>
              <a:rPr lang="ru-RU" sz="1066" b="1" kern="0" dirty="0" smtClean="0">
                <a:solidFill>
                  <a:srgbClr val="002060"/>
                </a:solidFill>
                <a:ea typeface="Rosatom" panose="020B0503040504020204" pitchFamily="34" charset="-52"/>
                <a:cs typeface="Arial Regular" pitchFamily="34" charset="-120"/>
              </a:rPr>
              <a:t>15.09 - 05.10</a:t>
            </a:r>
            <a:endParaRPr lang="ru-RU" sz="1066" b="1" kern="0" dirty="0">
              <a:solidFill>
                <a:srgbClr val="002060"/>
              </a:solidFill>
              <a:ea typeface="Rosatom" panose="020B0503040504020204" pitchFamily="34" charset="-52"/>
              <a:cs typeface="Arial Regular" pitchFamily="34" charset="-120"/>
            </a:endParaRPr>
          </a:p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66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 Regular" pitchFamily="34" charset="-120"/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D3007348-C874-7B4C-8A1A-0D4B6C27AF86}"/>
              </a:ext>
            </a:extLst>
          </p:cNvPr>
          <p:cNvCxnSpPr>
            <a:cxnSpLocks/>
          </p:cNvCxnSpPr>
          <p:nvPr/>
        </p:nvCxnSpPr>
        <p:spPr>
          <a:xfrm>
            <a:off x="514976" y="4493328"/>
            <a:ext cx="11209127" cy="1443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C74D44BA-D9AB-47DB-82CC-5C77D86FBC80}"/>
              </a:ext>
            </a:extLst>
          </p:cNvPr>
          <p:cNvGrpSpPr/>
          <p:nvPr/>
        </p:nvGrpSpPr>
        <p:grpSpPr>
          <a:xfrm>
            <a:off x="1518716" y="3618744"/>
            <a:ext cx="108000" cy="858591"/>
            <a:chOff x="910700" y="1918906"/>
            <a:chExt cx="81150" cy="645136"/>
          </a:xfrm>
          <a:solidFill>
            <a:schemeClr val="accent3"/>
          </a:solidFill>
        </p:grpSpPr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46DCDF93-95FC-EB4B-A023-C6C6855E62C2}"/>
                </a:ext>
              </a:extLst>
            </p:cNvPr>
            <p:cNvCxnSpPr>
              <a:cxnSpLocks/>
              <a:stCxn id="23" idx="4"/>
            </p:cNvCxnSpPr>
            <p:nvPr/>
          </p:nvCxnSpPr>
          <p:spPr>
            <a:xfrm>
              <a:off x="951275" y="2000056"/>
              <a:ext cx="0" cy="563986"/>
            </a:xfrm>
            <a:prstGeom prst="line">
              <a:avLst/>
            </a:prstGeom>
            <a:grpFill/>
            <a:ln w="12700" cap="flat" cmpd="sng" algn="ctr">
              <a:solidFill>
                <a:srgbClr val="6FABDD"/>
              </a:solidFill>
              <a:prstDash val="sysDot"/>
              <a:miter lim="800000"/>
            </a:ln>
            <a:effectLst/>
          </p:spPr>
        </p:cxnSp>
        <p:sp>
          <p:nvSpPr>
            <p:cNvPr id="23" name="Блок-схема: узел 22">
              <a:extLst>
                <a:ext uri="{FF2B5EF4-FFF2-40B4-BE49-F238E27FC236}">
                  <a16:creationId xmlns:a16="http://schemas.microsoft.com/office/drawing/2014/main" id="{42ECA435-0778-4137-BFE0-51DB36F5C2D2}"/>
                </a:ext>
              </a:extLst>
            </p:cNvPr>
            <p:cNvSpPr/>
            <p:nvPr/>
          </p:nvSpPr>
          <p:spPr>
            <a:xfrm>
              <a:off x="910700" y="1918906"/>
              <a:ext cx="81150" cy="81150"/>
            </a:xfrm>
            <a:prstGeom prst="flowChartConnector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7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19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2B0BC271-89E1-4236-B457-15237063E3A3}"/>
              </a:ext>
            </a:extLst>
          </p:cNvPr>
          <p:cNvGrpSpPr/>
          <p:nvPr/>
        </p:nvGrpSpPr>
        <p:grpSpPr>
          <a:xfrm>
            <a:off x="3367922" y="3748886"/>
            <a:ext cx="107999" cy="746028"/>
            <a:chOff x="3899498" y="2020682"/>
            <a:chExt cx="68370" cy="560557"/>
          </a:xfrm>
          <a:solidFill>
            <a:schemeClr val="accent3"/>
          </a:solidFill>
        </p:grpSpPr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DA89A171-70F5-423A-A2F5-075927021904}"/>
                </a:ext>
              </a:extLst>
            </p:cNvPr>
            <p:cNvCxnSpPr>
              <a:cxnSpLocks/>
              <a:stCxn id="26" idx="4"/>
            </p:cNvCxnSpPr>
            <p:nvPr/>
          </p:nvCxnSpPr>
          <p:spPr>
            <a:xfrm flipH="1">
              <a:off x="3932393" y="2101832"/>
              <a:ext cx="1290" cy="479407"/>
            </a:xfrm>
            <a:prstGeom prst="line">
              <a:avLst/>
            </a:prstGeom>
            <a:grpFill/>
            <a:ln w="12700" cap="flat" cmpd="sng" algn="ctr">
              <a:solidFill>
                <a:srgbClr val="6FABDD"/>
              </a:solidFill>
              <a:prstDash val="sysDot"/>
              <a:miter lim="800000"/>
            </a:ln>
            <a:effectLst/>
          </p:spPr>
        </p:cxnSp>
        <p:sp>
          <p:nvSpPr>
            <p:cNvPr id="26" name="Блок-схема: узел 25">
              <a:extLst>
                <a:ext uri="{FF2B5EF4-FFF2-40B4-BE49-F238E27FC236}">
                  <a16:creationId xmlns:a16="http://schemas.microsoft.com/office/drawing/2014/main" id="{CF81388A-7D3D-4B21-8727-52A679262EFE}"/>
                </a:ext>
              </a:extLst>
            </p:cNvPr>
            <p:cNvSpPr/>
            <p:nvPr/>
          </p:nvSpPr>
          <p:spPr>
            <a:xfrm>
              <a:off x="3899498" y="2020682"/>
              <a:ext cx="68370" cy="81150"/>
            </a:xfrm>
            <a:prstGeom prst="flowChartConnector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7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19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1BFCE30B-4080-416C-984C-0B2F9F2A1592}"/>
              </a:ext>
            </a:extLst>
          </p:cNvPr>
          <p:cNvGrpSpPr/>
          <p:nvPr/>
        </p:nvGrpSpPr>
        <p:grpSpPr>
          <a:xfrm>
            <a:off x="8324102" y="3716605"/>
            <a:ext cx="108000" cy="767371"/>
            <a:chOff x="6509326" y="1991857"/>
            <a:chExt cx="81150" cy="576594"/>
          </a:xfrm>
          <a:solidFill>
            <a:schemeClr val="accent3"/>
          </a:solidFill>
        </p:grpSpPr>
        <p:cxnSp>
          <p:nvCxnSpPr>
            <p:cNvPr id="28" name="Прямая соединительная линия 27">
              <a:extLst>
                <a:ext uri="{FF2B5EF4-FFF2-40B4-BE49-F238E27FC236}">
                  <a16:creationId xmlns:a16="http://schemas.microsoft.com/office/drawing/2014/main" id="{46DCDF93-95FC-EB4B-A023-C6C6855E62C2}"/>
                </a:ext>
              </a:extLst>
            </p:cNvPr>
            <p:cNvCxnSpPr>
              <a:cxnSpLocks/>
              <a:stCxn id="29" idx="4"/>
            </p:cNvCxnSpPr>
            <p:nvPr/>
          </p:nvCxnSpPr>
          <p:spPr>
            <a:xfrm>
              <a:off x="6549901" y="2073007"/>
              <a:ext cx="0" cy="495444"/>
            </a:xfrm>
            <a:prstGeom prst="line">
              <a:avLst/>
            </a:prstGeom>
            <a:grpFill/>
            <a:ln w="12700" cap="flat" cmpd="sng" algn="ctr">
              <a:solidFill>
                <a:srgbClr val="6FABDD"/>
              </a:solidFill>
              <a:prstDash val="sysDot"/>
              <a:miter lim="800000"/>
            </a:ln>
            <a:effectLst/>
          </p:spPr>
        </p:cxnSp>
        <p:sp>
          <p:nvSpPr>
            <p:cNvPr id="29" name="Блок-схема: узел 28">
              <a:extLst>
                <a:ext uri="{FF2B5EF4-FFF2-40B4-BE49-F238E27FC236}">
                  <a16:creationId xmlns:a16="http://schemas.microsoft.com/office/drawing/2014/main" id="{424E5480-0429-4C13-A993-E2A60B13F6A9}"/>
                </a:ext>
              </a:extLst>
            </p:cNvPr>
            <p:cNvSpPr/>
            <p:nvPr/>
          </p:nvSpPr>
          <p:spPr>
            <a:xfrm>
              <a:off x="6509326" y="1991857"/>
              <a:ext cx="81150" cy="81150"/>
            </a:xfrm>
            <a:prstGeom prst="flowChartConnector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7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19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2553517" y="4563594"/>
            <a:ext cx="1912741" cy="297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+mn-cs"/>
              </a:rPr>
              <a:t>а</a:t>
            </a:r>
            <a:r>
              <a:rPr kumimoji="0" lang="ru-RU" sz="1331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+mn-cs"/>
              </a:rPr>
              <a:t>вгуст 2023</a:t>
            </a:r>
            <a:endParaRPr kumimoji="0" lang="ru-RU" sz="1331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+mn-c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853335" y="4581660"/>
            <a:ext cx="2488133" cy="297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1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+mn-cs"/>
              </a:rPr>
              <a:t>с</a:t>
            </a:r>
            <a:r>
              <a:rPr kumimoji="0" lang="ru-RU" sz="1331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+mn-cs"/>
              </a:rPr>
              <a:t>ентябрь - октябрь 2023</a:t>
            </a:r>
            <a:endParaRPr kumimoji="0" lang="ru-RU" sz="1331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+mn-cs"/>
            </a:endParaRPr>
          </a:p>
        </p:txBody>
      </p: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61564081-1F1A-4087-BAB2-D84B18AD777E}"/>
              </a:ext>
            </a:extLst>
          </p:cNvPr>
          <p:cNvGrpSpPr/>
          <p:nvPr/>
        </p:nvGrpSpPr>
        <p:grpSpPr>
          <a:xfrm>
            <a:off x="2394801" y="2752946"/>
            <a:ext cx="108000" cy="1717576"/>
            <a:chOff x="4909620" y="1285524"/>
            <a:chExt cx="81150" cy="1290569"/>
          </a:xfrm>
          <a:solidFill>
            <a:schemeClr val="accent3"/>
          </a:solidFill>
        </p:grpSpPr>
        <p:cxnSp>
          <p:nvCxnSpPr>
            <p:cNvPr id="39" name="Прямая соединительная линия 38">
              <a:extLst>
                <a:ext uri="{FF2B5EF4-FFF2-40B4-BE49-F238E27FC236}">
                  <a16:creationId xmlns:a16="http://schemas.microsoft.com/office/drawing/2014/main" id="{46DCDF93-95FC-EB4B-A023-C6C6855E62C2}"/>
                </a:ext>
              </a:extLst>
            </p:cNvPr>
            <p:cNvCxnSpPr>
              <a:cxnSpLocks/>
              <a:stCxn id="40" idx="4"/>
            </p:cNvCxnSpPr>
            <p:nvPr/>
          </p:nvCxnSpPr>
          <p:spPr>
            <a:xfrm>
              <a:off x="4950195" y="1366674"/>
              <a:ext cx="2688" cy="1209419"/>
            </a:xfrm>
            <a:prstGeom prst="line">
              <a:avLst/>
            </a:prstGeom>
            <a:grpFill/>
            <a:ln w="12700" cap="flat" cmpd="sng" algn="ctr">
              <a:solidFill>
                <a:srgbClr val="6FABDD"/>
              </a:solidFill>
              <a:prstDash val="sysDot"/>
              <a:miter lim="800000"/>
            </a:ln>
            <a:effectLst/>
          </p:spPr>
        </p:cxnSp>
        <p:sp>
          <p:nvSpPr>
            <p:cNvPr id="40" name="Блок-схема: узел 39">
              <a:extLst>
                <a:ext uri="{FF2B5EF4-FFF2-40B4-BE49-F238E27FC236}">
                  <a16:creationId xmlns:a16="http://schemas.microsoft.com/office/drawing/2014/main" id="{B29C23D8-8735-406D-A20F-B5A7D85F2150}"/>
                </a:ext>
              </a:extLst>
            </p:cNvPr>
            <p:cNvSpPr/>
            <p:nvPr/>
          </p:nvSpPr>
          <p:spPr>
            <a:xfrm>
              <a:off x="4909620" y="1285524"/>
              <a:ext cx="81150" cy="81150"/>
            </a:xfrm>
            <a:prstGeom prst="flowChartConnector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7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19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1" name="Прямоугольник 40"/>
          <p:cNvSpPr/>
          <p:nvPr/>
        </p:nvSpPr>
        <p:spPr>
          <a:xfrm>
            <a:off x="3984824" y="2848768"/>
            <a:ext cx="2291267" cy="4203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Рекомендации по работе Конкурсной комиссии </a:t>
            </a:r>
            <a:endParaRPr kumimoji="0" lang="ru-RU" sz="1066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 Regular" pitchFamily="34" charset="-12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6532230" y="1900431"/>
            <a:ext cx="2080763" cy="748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Второй этап </a:t>
            </a:r>
          </a:p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(решение 5 кейсов)</a:t>
            </a:r>
          </a:p>
          <a:p>
            <a:pPr lvl="0" algn="ctr" defTabSz="1217585">
              <a:defRPr/>
            </a:pPr>
            <a:r>
              <a:rPr lang="ru-RU" sz="1066" b="1" kern="0" dirty="0">
                <a:solidFill>
                  <a:srgbClr val="002060"/>
                </a:solidFill>
                <a:ea typeface="Rosatom" panose="020B0503040504020204" pitchFamily="34" charset="-52"/>
                <a:cs typeface="Arial Regular" pitchFamily="34" charset="-120"/>
              </a:rPr>
              <a:t>17.10 </a:t>
            </a:r>
            <a:r>
              <a:rPr lang="ru-RU" sz="1066" b="1" kern="0" dirty="0" smtClean="0">
                <a:solidFill>
                  <a:srgbClr val="002060"/>
                </a:solidFill>
                <a:ea typeface="Rosatom" panose="020B0503040504020204" pitchFamily="34" charset="-52"/>
                <a:cs typeface="Arial Regular" pitchFamily="34" charset="-120"/>
              </a:rPr>
              <a:t>- 25.10</a:t>
            </a:r>
            <a:endParaRPr lang="ru-RU" sz="1066" b="1" kern="0" dirty="0">
              <a:solidFill>
                <a:srgbClr val="002060"/>
              </a:solidFill>
              <a:ea typeface="Rosatom" panose="020B0503040504020204" pitchFamily="34" charset="-52"/>
              <a:cs typeface="Arial Regular" pitchFamily="34" charset="-120"/>
            </a:endParaRPr>
          </a:p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66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 Regular" pitchFamily="34" charset="-120"/>
            </a:endParaRPr>
          </a:p>
        </p:txBody>
      </p: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1BFCE30B-4080-416C-984C-0B2F9F2A1592}"/>
              </a:ext>
            </a:extLst>
          </p:cNvPr>
          <p:cNvGrpSpPr/>
          <p:nvPr/>
        </p:nvGrpSpPr>
        <p:grpSpPr>
          <a:xfrm>
            <a:off x="9850310" y="3744000"/>
            <a:ext cx="108000" cy="747045"/>
            <a:chOff x="6498589" y="1991857"/>
            <a:chExt cx="81150" cy="526918"/>
          </a:xfrm>
          <a:solidFill>
            <a:schemeClr val="accent3"/>
          </a:solidFill>
        </p:grpSpPr>
        <p:cxnSp>
          <p:nvCxnSpPr>
            <p:cNvPr id="48" name="Прямая соединительная линия 47">
              <a:extLst>
                <a:ext uri="{FF2B5EF4-FFF2-40B4-BE49-F238E27FC236}">
                  <a16:creationId xmlns:a16="http://schemas.microsoft.com/office/drawing/2014/main" id="{46DCDF93-95FC-EB4B-A023-C6C6855E62C2}"/>
                </a:ext>
              </a:extLst>
            </p:cNvPr>
            <p:cNvCxnSpPr>
              <a:cxnSpLocks/>
              <a:stCxn id="49" idx="4"/>
            </p:cNvCxnSpPr>
            <p:nvPr/>
          </p:nvCxnSpPr>
          <p:spPr>
            <a:xfrm>
              <a:off x="6539164" y="2068033"/>
              <a:ext cx="0" cy="450742"/>
            </a:xfrm>
            <a:prstGeom prst="line">
              <a:avLst/>
            </a:prstGeom>
            <a:grpFill/>
            <a:ln w="12700" cap="flat" cmpd="sng" algn="ctr">
              <a:solidFill>
                <a:srgbClr val="6FABDD"/>
              </a:solidFill>
              <a:prstDash val="sysDot"/>
              <a:miter lim="800000"/>
            </a:ln>
            <a:effectLst/>
          </p:spPr>
        </p:cxnSp>
        <p:sp>
          <p:nvSpPr>
            <p:cNvPr id="49" name="Блок-схема: узел 48">
              <a:extLst>
                <a:ext uri="{FF2B5EF4-FFF2-40B4-BE49-F238E27FC236}">
                  <a16:creationId xmlns:a16="http://schemas.microsoft.com/office/drawing/2014/main" id="{424E5480-0429-4C13-A993-E2A60B13F6A9}"/>
                </a:ext>
              </a:extLst>
            </p:cNvPr>
            <p:cNvSpPr/>
            <p:nvPr/>
          </p:nvSpPr>
          <p:spPr>
            <a:xfrm>
              <a:off x="6498589" y="1991857"/>
              <a:ext cx="81150" cy="76176"/>
            </a:xfrm>
            <a:prstGeom prst="flowChartConnector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7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19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3" name="Прямоугольник 52"/>
          <p:cNvSpPr/>
          <p:nvPr/>
        </p:nvSpPr>
        <p:spPr>
          <a:xfrm>
            <a:off x="10006692" y="1772590"/>
            <a:ext cx="1133896" cy="7484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Объявление</a:t>
            </a:r>
          </a:p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победителей </a:t>
            </a:r>
          </a:p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Конкурса</a:t>
            </a:r>
          </a:p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66" b="1" kern="0" dirty="0" smtClean="0">
                <a:solidFill>
                  <a:srgbClr val="002060"/>
                </a:solidFill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23.11.2023</a:t>
            </a:r>
            <a:endParaRPr kumimoji="0" lang="ru-RU" sz="1066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 Regular" pitchFamily="34" charset="-120"/>
            </a:endParaRPr>
          </a:p>
        </p:txBody>
      </p: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9A34FD2B-6B91-44E0-A95B-C4369DCF32CE}"/>
              </a:ext>
            </a:extLst>
          </p:cNvPr>
          <p:cNvGrpSpPr/>
          <p:nvPr/>
        </p:nvGrpSpPr>
        <p:grpSpPr>
          <a:xfrm>
            <a:off x="9110396" y="2289335"/>
            <a:ext cx="108000" cy="2205578"/>
            <a:chOff x="4920762" y="1285524"/>
            <a:chExt cx="65916" cy="1297002"/>
          </a:xfrm>
          <a:solidFill>
            <a:schemeClr val="accent3"/>
          </a:solidFill>
        </p:grpSpPr>
        <p:cxnSp>
          <p:nvCxnSpPr>
            <p:cNvPr id="68" name="Прямая соединительная линия 67">
              <a:extLst>
                <a:ext uri="{FF2B5EF4-FFF2-40B4-BE49-F238E27FC236}">
                  <a16:creationId xmlns:a16="http://schemas.microsoft.com/office/drawing/2014/main" id="{C0524C12-E098-43E3-91E7-D8B3DF3441A4}"/>
                </a:ext>
              </a:extLst>
            </p:cNvPr>
            <p:cNvCxnSpPr>
              <a:cxnSpLocks/>
              <a:stCxn id="69" idx="4"/>
            </p:cNvCxnSpPr>
            <p:nvPr/>
          </p:nvCxnSpPr>
          <p:spPr>
            <a:xfrm>
              <a:off x="4953720" y="1349034"/>
              <a:ext cx="0" cy="1233492"/>
            </a:xfrm>
            <a:prstGeom prst="line">
              <a:avLst/>
            </a:prstGeom>
            <a:grpFill/>
            <a:ln w="12700" cap="flat" cmpd="sng" algn="ctr">
              <a:solidFill>
                <a:srgbClr val="6FABDD"/>
              </a:solidFill>
              <a:prstDash val="sysDot"/>
              <a:miter lim="800000"/>
            </a:ln>
            <a:effectLst/>
          </p:spPr>
        </p:cxnSp>
        <p:sp>
          <p:nvSpPr>
            <p:cNvPr id="69" name="Блок-схема: узел 68">
              <a:extLst>
                <a:ext uri="{FF2B5EF4-FFF2-40B4-BE49-F238E27FC236}">
                  <a16:creationId xmlns:a16="http://schemas.microsoft.com/office/drawing/2014/main" id="{50BF3628-5617-4830-B31D-CFAB4C09F124}"/>
                </a:ext>
              </a:extLst>
            </p:cNvPr>
            <p:cNvSpPr/>
            <p:nvPr/>
          </p:nvSpPr>
          <p:spPr>
            <a:xfrm>
              <a:off x="4920762" y="1285524"/>
              <a:ext cx="65916" cy="63510"/>
            </a:xfrm>
            <a:prstGeom prst="flowChartConnector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7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19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9194609" y="4561127"/>
            <a:ext cx="1429756" cy="297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1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+mn-cs"/>
              </a:rPr>
              <a:t>ноябрь 2023</a:t>
            </a:r>
            <a:endParaRPr kumimoji="0" lang="ru-RU" sz="1331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+mn-cs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1852986" y="2162553"/>
            <a:ext cx="1328262" cy="5843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Регистрация участников на сайте Конкурса</a:t>
            </a:r>
            <a:endParaRPr kumimoji="0" lang="ru-RU" sz="1066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 Regular" pitchFamily="34" charset="-120"/>
            </a:endParaRPr>
          </a:p>
        </p:txBody>
      </p:sp>
      <p:grpSp>
        <p:nvGrpSpPr>
          <p:cNvPr id="76" name="Группа 75">
            <a:extLst>
              <a:ext uri="{FF2B5EF4-FFF2-40B4-BE49-F238E27FC236}">
                <a16:creationId xmlns:a16="http://schemas.microsoft.com/office/drawing/2014/main" id="{2B0BC271-89E1-4236-B457-15237063E3A3}"/>
              </a:ext>
            </a:extLst>
          </p:cNvPr>
          <p:cNvGrpSpPr/>
          <p:nvPr/>
        </p:nvGrpSpPr>
        <p:grpSpPr>
          <a:xfrm>
            <a:off x="6816338" y="3771086"/>
            <a:ext cx="107999" cy="701485"/>
            <a:chOff x="3899498" y="2020682"/>
            <a:chExt cx="68370" cy="527088"/>
          </a:xfrm>
          <a:solidFill>
            <a:schemeClr val="accent3"/>
          </a:solidFill>
        </p:grpSpPr>
        <p:cxnSp>
          <p:nvCxnSpPr>
            <p:cNvPr id="77" name="Прямая соединительная линия 76">
              <a:extLst>
                <a:ext uri="{FF2B5EF4-FFF2-40B4-BE49-F238E27FC236}">
                  <a16:creationId xmlns:a16="http://schemas.microsoft.com/office/drawing/2014/main" id="{DA89A171-70F5-423A-A2F5-075927021904}"/>
                </a:ext>
              </a:extLst>
            </p:cNvPr>
            <p:cNvCxnSpPr>
              <a:cxnSpLocks/>
              <a:stCxn id="80" idx="4"/>
            </p:cNvCxnSpPr>
            <p:nvPr/>
          </p:nvCxnSpPr>
          <p:spPr>
            <a:xfrm>
              <a:off x="3933683" y="2101832"/>
              <a:ext cx="2" cy="445938"/>
            </a:xfrm>
            <a:prstGeom prst="line">
              <a:avLst/>
            </a:prstGeom>
            <a:grpFill/>
            <a:ln w="12700" cap="flat" cmpd="sng" algn="ctr">
              <a:solidFill>
                <a:srgbClr val="6FABDD"/>
              </a:solidFill>
              <a:prstDash val="sysDot"/>
              <a:miter lim="800000"/>
            </a:ln>
            <a:effectLst/>
          </p:spPr>
        </p:cxnSp>
        <p:sp>
          <p:nvSpPr>
            <p:cNvPr id="80" name="Блок-схема: узел 79">
              <a:extLst>
                <a:ext uri="{FF2B5EF4-FFF2-40B4-BE49-F238E27FC236}">
                  <a16:creationId xmlns:a16="http://schemas.microsoft.com/office/drawing/2014/main" id="{CF81388A-7D3D-4B21-8727-52A679262EFE}"/>
                </a:ext>
              </a:extLst>
            </p:cNvPr>
            <p:cNvSpPr/>
            <p:nvPr/>
          </p:nvSpPr>
          <p:spPr>
            <a:xfrm>
              <a:off x="3899498" y="2020682"/>
              <a:ext cx="68370" cy="81150"/>
            </a:xfrm>
            <a:prstGeom prst="flowChartConnector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7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19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9A34FD2B-6B91-44E0-A95B-C4369DCF32CE}"/>
              </a:ext>
            </a:extLst>
          </p:cNvPr>
          <p:cNvGrpSpPr/>
          <p:nvPr/>
        </p:nvGrpSpPr>
        <p:grpSpPr>
          <a:xfrm>
            <a:off x="5980826" y="1951920"/>
            <a:ext cx="108000" cy="2517003"/>
            <a:chOff x="4924507" y="1285524"/>
            <a:chExt cx="56752" cy="1290569"/>
          </a:xfrm>
          <a:solidFill>
            <a:schemeClr val="accent3"/>
          </a:solidFill>
        </p:grpSpPr>
        <p:cxnSp>
          <p:nvCxnSpPr>
            <p:cNvPr id="65" name="Прямая соединительная линия 64">
              <a:extLst>
                <a:ext uri="{FF2B5EF4-FFF2-40B4-BE49-F238E27FC236}">
                  <a16:creationId xmlns:a16="http://schemas.microsoft.com/office/drawing/2014/main" id="{C0524C12-E098-43E3-91E7-D8B3DF3441A4}"/>
                </a:ext>
              </a:extLst>
            </p:cNvPr>
            <p:cNvCxnSpPr>
              <a:cxnSpLocks/>
              <a:stCxn id="66" idx="4"/>
            </p:cNvCxnSpPr>
            <p:nvPr/>
          </p:nvCxnSpPr>
          <p:spPr>
            <a:xfrm>
              <a:off x="4952883" y="1340900"/>
              <a:ext cx="0" cy="1235193"/>
            </a:xfrm>
            <a:prstGeom prst="line">
              <a:avLst/>
            </a:prstGeom>
            <a:grpFill/>
            <a:ln w="12700" cap="flat" cmpd="sng" algn="ctr">
              <a:solidFill>
                <a:srgbClr val="6FABDD"/>
              </a:solidFill>
              <a:prstDash val="sysDot"/>
              <a:miter lim="800000"/>
            </a:ln>
            <a:effectLst/>
          </p:spPr>
        </p:cxnSp>
        <p:sp>
          <p:nvSpPr>
            <p:cNvPr id="66" name="Блок-схема: узел 65">
              <a:extLst>
                <a:ext uri="{FF2B5EF4-FFF2-40B4-BE49-F238E27FC236}">
                  <a16:creationId xmlns:a16="http://schemas.microsoft.com/office/drawing/2014/main" id="{50BF3628-5617-4830-B31D-CFAB4C09F124}"/>
                </a:ext>
              </a:extLst>
            </p:cNvPr>
            <p:cNvSpPr/>
            <p:nvPr/>
          </p:nvSpPr>
          <p:spPr>
            <a:xfrm>
              <a:off x="4924507" y="1285524"/>
              <a:ext cx="56752" cy="55376"/>
            </a:xfrm>
            <a:prstGeom prst="flowChartConnector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7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19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70" name="Прямоугольник 69"/>
          <p:cNvSpPr/>
          <p:nvPr/>
        </p:nvSpPr>
        <p:spPr>
          <a:xfrm>
            <a:off x="2340240" y="3082660"/>
            <a:ext cx="2126018" cy="5843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Консультирование </a:t>
            </a:r>
          </a:p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участников   по </a:t>
            </a:r>
          </a:p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Оформлению заявок</a:t>
            </a:r>
            <a:endParaRPr kumimoji="0" lang="ru-RU" sz="1066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 Regular" pitchFamily="34" charset="-12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5724756" y="3197821"/>
            <a:ext cx="2126018" cy="5843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Анонс результатов </a:t>
            </a:r>
          </a:p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первого этапа </a:t>
            </a:r>
          </a:p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заявителям</a:t>
            </a:r>
            <a:endParaRPr kumimoji="0" lang="ru-RU" sz="1066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 Regular" pitchFamily="34" charset="-120"/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10910971" y="2400792"/>
            <a:ext cx="1282229" cy="124046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Выплата стипендии за 2023/24 уч. г.  / </a:t>
            </a:r>
            <a:r>
              <a:rPr kumimoji="0" lang="ru-RU" sz="1066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подтверждение права на получение по итогам сессии  </a:t>
            </a:r>
            <a:endParaRPr kumimoji="0" lang="ru-RU" sz="1066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 Regular" pitchFamily="34" charset="-120"/>
            </a:endParaRPr>
          </a:p>
        </p:txBody>
      </p:sp>
      <p:sp>
        <p:nvSpPr>
          <p:cNvPr id="92" name="Прямоугольник 91"/>
          <p:cNvSpPr/>
          <p:nvPr/>
        </p:nvSpPr>
        <p:spPr>
          <a:xfrm>
            <a:off x="9292167" y="2899881"/>
            <a:ext cx="1185749" cy="58439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1217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6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Утверждение финалистов протоколом</a:t>
            </a:r>
            <a:endParaRPr kumimoji="0" lang="ru-RU" sz="1066" b="0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 Regular" pitchFamily="34" charset="-120"/>
            </a:endParaRPr>
          </a:p>
        </p:txBody>
      </p:sp>
      <p:grpSp>
        <p:nvGrpSpPr>
          <p:cNvPr id="93" name="Группа 92">
            <a:extLst>
              <a:ext uri="{FF2B5EF4-FFF2-40B4-BE49-F238E27FC236}">
                <a16:creationId xmlns:a16="http://schemas.microsoft.com/office/drawing/2014/main" id="{1BFCE30B-4080-416C-984C-0B2F9F2A1592}"/>
              </a:ext>
            </a:extLst>
          </p:cNvPr>
          <p:cNvGrpSpPr/>
          <p:nvPr/>
        </p:nvGrpSpPr>
        <p:grpSpPr>
          <a:xfrm>
            <a:off x="11580359" y="3667721"/>
            <a:ext cx="180000" cy="809614"/>
            <a:chOff x="6498589" y="1991857"/>
            <a:chExt cx="135250" cy="608335"/>
          </a:xfrm>
          <a:solidFill>
            <a:schemeClr val="accent1"/>
          </a:solidFill>
        </p:grpSpPr>
        <p:cxnSp>
          <p:nvCxnSpPr>
            <p:cNvPr id="94" name="Прямая соединительная линия 93">
              <a:extLst>
                <a:ext uri="{FF2B5EF4-FFF2-40B4-BE49-F238E27FC236}">
                  <a16:creationId xmlns:a16="http://schemas.microsoft.com/office/drawing/2014/main" id="{46DCDF93-95FC-EB4B-A023-C6C6855E62C2}"/>
                </a:ext>
              </a:extLst>
            </p:cNvPr>
            <p:cNvCxnSpPr>
              <a:cxnSpLocks/>
              <a:stCxn id="95" idx="4"/>
            </p:cNvCxnSpPr>
            <p:nvPr/>
          </p:nvCxnSpPr>
          <p:spPr>
            <a:xfrm>
              <a:off x="6566214" y="2127107"/>
              <a:ext cx="0" cy="473085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Блок-схема: узел 94">
              <a:extLst>
                <a:ext uri="{FF2B5EF4-FFF2-40B4-BE49-F238E27FC236}">
                  <a16:creationId xmlns:a16="http://schemas.microsoft.com/office/drawing/2014/main" id="{424E5480-0429-4C13-A993-E2A60B13F6A9}"/>
                </a:ext>
              </a:extLst>
            </p:cNvPr>
            <p:cNvSpPr/>
            <p:nvPr/>
          </p:nvSpPr>
          <p:spPr>
            <a:xfrm>
              <a:off x="6498589" y="1991857"/>
              <a:ext cx="135250" cy="135250"/>
            </a:xfrm>
            <a:prstGeom prst="flowChartConnector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7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19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51932" y="392491"/>
            <a:ext cx="8423625" cy="431801"/>
          </a:xfrm>
        </p:spPr>
        <p:txBody>
          <a:bodyPr/>
          <a:lstStyle/>
          <a:p>
            <a:r>
              <a:rPr lang="ru-RU" dirty="0"/>
              <a:t> </a:t>
            </a:r>
            <a:r>
              <a:rPr lang="ru-RU" sz="2400" dirty="0">
                <a:solidFill>
                  <a:srgbClr val="002060"/>
                </a:solidFill>
                <a:latin typeface="Rosatom" panose="020B0503040504020204" pitchFamily="34" charset="-52"/>
                <a:ea typeface="Rosatom" panose="020B0503040504020204" pitchFamily="34" charset="-52"/>
              </a:rPr>
              <a:t>ЭТАПЫ ПРОВЕДЕНИЯ КОНКУРСА 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Программа стипендий одобрена п. 7 Протокола 23 Заседания Комиссии государств – участников СНГ по использованию атомной энергии в мирных целях от 9 ноября 2022 года г. Бишкек, </a:t>
            </a:r>
            <a:r>
              <a:rPr lang="ru-RU" dirty="0" err="1"/>
              <a:t>Кыргызская</a:t>
            </a:r>
            <a:r>
              <a:rPr lang="ru-RU" dirty="0"/>
              <a:t> Республик СНГ </a:t>
            </a:r>
          </a:p>
        </p:txBody>
      </p:sp>
      <p:sp>
        <p:nvSpPr>
          <p:cNvPr id="99" name="Пятиугольник 98"/>
          <p:cNvSpPr/>
          <p:nvPr/>
        </p:nvSpPr>
        <p:spPr>
          <a:xfrm>
            <a:off x="3924980" y="5446738"/>
            <a:ext cx="5178280" cy="432000"/>
          </a:xfrm>
          <a:prstGeom prst="homePlate">
            <a:avLst>
              <a:gd name="adj" fmla="val 79683"/>
            </a:avLst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Взаимодействие с Конкурсной комиссией </a:t>
            </a:r>
          </a:p>
        </p:txBody>
      </p:sp>
      <p:sp>
        <p:nvSpPr>
          <p:cNvPr id="100" name="Пятиугольник 99"/>
          <p:cNvSpPr/>
          <p:nvPr/>
        </p:nvSpPr>
        <p:spPr>
          <a:xfrm>
            <a:off x="396977" y="4870890"/>
            <a:ext cx="8681310" cy="432000"/>
          </a:xfrm>
          <a:prstGeom prst="homePlate">
            <a:avLst>
              <a:gd name="adj" fmla="val 79098"/>
            </a:avLst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Работа с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заявителями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 Regular" pitchFamily="34" charset="-120"/>
            </a:endParaRPr>
          </a:p>
        </p:txBody>
      </p:sp>
      <p:sp>
        <p:nvSpPr>
          <p:cNvPr id="101" name="Пятиугольник 100"/>
          <p:cNvSpPr/>
          <p:nvPr/>
        </p:nvSpPr>
        <p:spPr>
          <a:xfrm>
            <a:off x="10006692" y="4902663"/>
            <a:ext cx="2048882" cy="432000"/>
          </a:xfrm>
          <a:prstGeom prst="homePlate">
            <a:avLst>
              <a:gd name="adj" fmla="val 67723"/>
            </a:avLst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Взаимодействие со 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/>
                <a:ea typeface="Rosatom" panose="020B0503040504020204" pitchFamily="34" charset="-52"/>
                <a:cs typeface="Arial Regular" pitchFamily="34" charset="-120"/>
              </a:rPr>
              <a:t>стипендиатами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/>
              <a:ea typeface="Rosatom" panose="020B0503040504020204" pitchFamily="34" charset="-52"/>
              <a:cs typeface="Arial Regular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877827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340273" y="373417"/>
            <a:ext cx="8748184" cy="439859"/>
          </a:xfrm>
        </p:spPr>
        <p:txBody>
          <a:bodyPr/>
          <a:lstStyle/>
          <a:p>
            <a:r>
              <a:rPr lang="ru-RU" sz="2400" dirty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  <a:t>ПОДГОТОВИТЕЛЬНЫЙ ЭТАП</a:t>
            </a:r>
          </a:p>
        </p:txBody>
      </p:sp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val="4248556034"/>
              </p:ext>
            </p:extLst>
          </p:nvPr>
        </p:nvGraphicFramePr>
        <p:xfrm>
          <a:off x="713437" y="804617"/>
          <a:ext cx="4733374" cy="25712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738953435"/>
              </p:ext>
            </p:extLst>
          </p:nvPr>
        </p:nvGraphicFramePr>
        <p:xfrm>
          <a:off x="5509056" y="234377"/>
          <a:ext cx="5753220" cy="60805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554" y="1583334"/>
            <a:ext cx="623542" cy="62354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5618" y="2498769"/>
            <a:ext cx="569341" cy="23165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5894" y="1791435"/>
            <a:ext cx="767687" cy="34290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52292" y="2605746"/>
            <a:ext cx="767749" cy="41210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518325" y="1444834"/>
            <a:ext cx="990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другие</a:t>
            </a:r>
            <a:endParaRPr lang="ru-RU" sz="1200" dirty="0">
              <a:latin typeface="Rosatom" panose="020B0503040504020204" pitchFamily="34" charset="-52"/>
              <a:ea typeface="Rosatom" panose="020B0503040504020204" pitchFamily="34" charset="-52"/>
            </a:endParaRPr>
          </a:p>
        </p:txBody>
      </p:sp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val="1216377812"/>
              </p:ext>
            </p:extLst>
          </p:nvPr>
        </p:nvGraphicFramePr>
        <p:xfrm>
          <a:off x="1088788" y="3344252"/>
          <a:ext cx="4121898" cy="297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4" name="Прямая соединительная линия 3"/>
          <p:cNvCxnSpPr/>
          <p:nvPr/>
        </p:nvCxnSpPr>
        <p:spPr>
          <a:xfrm flipH="1">
            <a:off x="2182855" y="4641888"/>
            <a:ext cx="966882" cy="93486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35904" y="6065309"/>
            <a:ext cx="758613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dirty="0">
                <a:solidFill>
                  <a:srgbClr val="333333"/>
                </a:solidFill>
                <a:latin typeface="Rosatom" panose="020B0604020202020204"/>
                <a:ea typeface="Arial" charset="0"/>
                <a:cs typeface="Arial" charset="0"/>
              </a:rPr>
              <a:t>Высокий средний балл </a:t>
            </a:r>
            <a:r>
              <a:rPr lang="ru-RU" sz="1000" b="1" dirty="0" smtClean="0">
                <a:solidFill>
                  <a:srgbClr val="333333"/>
                </a:solidFill>
                <a:latin typeface="Rosatom" panose="020B0604020202020204"/>
                <a:ea typeface="Arial" charset="0"/>
                <a:cs typeface="Arial" charset="0"/>
              </a:rPr>
              <a:t>успеваемости 4.5 стал </a:t>
            </a:r>
          </a:p>
          <a:p>
            <a:pPr algn="just"/>
            <a:r>
              <a:rPr lang="ru-RU" sz="1000" b="1" dirty="0" smtClean="0">
                <a:solidFill>
                  <a:srgbClr val="333333"/>
                </a:solidFill>
                <a:latin typeface="Rosatom" panose="020B0604020202020204"/>
                <a:ea typeface="Arial" charset="0"/>
                <a:cs typeface="Arial" charset="0"/>
              </a:rPr>
              <a:t>отсекающим критерием и  </a:t>
            </a:r>
            <a:r>
              <a:rPr lang="ru-RU" sz="1000" b="1" dirty="0">
                <a:solidFill>
                  <a:srgbClr val="333333"/>
                </a:solidFill>
                <a:latin typeface="Rosatom" panose="020B0604020202020204"/>
                <a:ea typeface="Arial" charset="0"/>
                <a:cs typeface="Arial" charset="0"/>
              </a:rPr>
              <a:t>не </a:t>
            </a:r>
            <a:r>
              <a:rPr lang="ru-RU" sz="1000" b="1" dirty="0" smtClean="0">
                <a:solidFill>
                  <a:srgbClr val="333333"/>
                </a:solidFill>
                <a:latin typeface="Rosatom" panose="020B0604020202020204"/>
                <a:ea typeface="Arial" charset="0"/>
                <a:cs typeface="Arial" charset="0"/>
              </a:rPr>
              <a:t>позволил </a:t>
            </a:r>
            <a:r>
              <a:rPr lang="ru-RU" sz="1000" b="1" dirty="0">
                <a:solidFill>
                  <a:srgbClr val="333333"/>
                </a:solidFill>
                <a:latin typeface="Rosatom" panose="020B0604020202020204"/>
                <a:ea typeface="Arial" charset="0"/>
                <a:cs typeface="Arial" charset="0"/>
              </a:rPr>
              <a:t>большому </a:t>
            </a:r>
            <a:endParaRPr lang="ru-RU" sz="1000" b="1" dirty="0" smtClean="0">
              <a:solidFill>
                <a:srgbClr val="333333"/>
              </a:solidFill>
              <a:latin typeface="Rosatom" panose="020B0604020202020204"/>
              <a:ea typeface="Arial" charset="0"/>
              <a:cs typeface="Arial" charset="0"/>
            </a:endParaRPr>
          </a:p>
          <a:p>
            <a:pPr algn="just"/>
            <a:r>
              <a:rPr lang="ru-RU" sz="1000" b="1" dirty="0" smtClean="0">
                <a:solidFill>
                  <a:srgbClr val="333333"/>
                </a:solidFill>
                <a:latin typeface="Rosatom" panose="020B0604020202020204"/>
                <a:ea typeface="Arial" charset="0"/>
                <a:cs typeface="Arial" charset="0"/>
              </a:rPr>
              <a:t>количеству заявителей</a:t>
            </a:r>
            <a:r>
              <a:rPr lang="en-US" sz="1000" b="1" dirty="0" smtClean="0">
                <a:solidFill>
                  <a:srgbClr val="333333"/>
                </a:solidFill>
                <a:latin typeface="Rosatom" panose="020B0604020202020204"/>
                <a:ea typeface="Arial" charset="0"/>
                <a:cs typeface="Arial" charset="0"/>
              </a:rPr>
              <a:t> </a:t>
            </a:r>
            <a:r>
              <a:rPr lang="ru-RU" sz="1000" b="1" dirty="0" smtClean="0">
                <a:solidFill>
                  <a:srgbClr val="333333"/>
                </a:solidFill>
                <a:latin typeface="Rosatom" panose="020B0604020202020204"/>
                <a:ea typeface="Arial" charset="0"/>
                <a:cs typeface="Arial" charset="0"/>
              </a:rPr>
              <a:t>пройти во второй этап Конкурса</a:t>
            </a:r>
            <a:endParaRPr lang="ru-RU" sz="1000" b="1" dirty="0">
              <a:solidFill>
                <a:srgbClr val="333333"/>
              </a:solidFill>
              <a:latin typeface="Rosatom" panose="020B0604020202020204"/>
              <a:ea typeface="Arial" charset="0"/>
              <a:cs typeface="Arial" charset="0"/>
            </a:endParaRPr>
          </a:p>
          <a:p>
            <a:pPr algn="just" defTabSz="1217585">
              <a:lnSpc>
                <a:spcPct val="100000"/>
              </a:lnSpc>
              <a:spcBef>
                <a:spcPts val="0"/>
              </a:spcBef>
              <a:defRPr/>
            </a:pPr>
            <a:endParaRPr lang="ru-RU" sz="1200" b="1" kern="0" dirty="0">
              <a:solidFill>
                <a:schemeClr val="accent1">
                  <a:lumMod val="50000"/>
                </a:schemeClr>
              </a:solidFill>
              <a:latin typeface="Rosatom" panose="020B0503040504020204" pitchFamily="34" charset="-52"/>
              <a:ea typeface="Rosatom" panose="020B0503040504020204" pitchFamily="34" charset="-52"/>
              <a:cs typeface="Arial Regular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2490373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FB487BFC-62E0-4DE2-AF80-FF071A0796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4625899"/>
              </p:ext>
            </p:extLst>
          </p:nvPr>
        </p:nvGraphicFramePr>
        <p:xfrm>
          <a:off x="141061" y="823747"/>
          <a:ext cx="11393016" cy="526108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40288">
                  <a:extLst>
                    <a:ext uri="{9D8B030D-6E8A-4147-A177-3AD203B41FA5}">
                      <a16:colId xmlns:a16="http://schemas.microsoft.com/office/drawing/2014/main" val="2173669056"/>
                    </a:ext>
                  </a:extLst>
                </a:gridCol>
                <a:gridCol w="2842081">
                  <a:extLst>
                    <a:ext uri="{9D8B030D-6E8A-4147-A177-3AD203B41FA5}">
                      <a16:colId xmlns:a16="http://schemas.microsoft.com/office/drawing/2014/main" val="2988604610"/>
                    </a:ext>
                  </a:extLst>
                </a:gridCol>
                <a:gridCol w="2546832">
                  <a:extLst>
                    <a:ext uri="{9D8B030D-6E8A-4147-A177-3AD203B41FA5}">
                      <a16:colId xmlns:a16="http://schemas.microsoft.com/office/drawing/2014/main" val="3890224909"/>
                    </a:ext>
                  </a:extLst>
                </a:gridCol>
                <a:gridCol w="2963815">
                  <a:extLst>
                    <a:ext uri="{9D8B030D-6E8A-4147-A177-3AD203B41FA5}">
                      <a16:colId xmlns:a16="http://schemas.microsoft.com/office/drawing/2014/main" val="3523713662"/>
                    </a:ext>
                  </a:extLst>
                </a:gridCol>
              </a:tblGrid>
              <a:tr h="719137">
                <a:tc>
                  <a:txBody>
                    <a:bodyPr/>
                    <a:lstStyle/>
                    <a:p>
                      <a:pPr marL="0" lvl="0" indent="0" algn="ctr" defTabSz="466725"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400" b="1" kern="1200" dirty="0" smtClean="0">
                          <a:solidFill>
                            <a:schemeClr val="accent1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Страна</a:t>
                      </a:r>
                      <a:endParaRPr lang="ru-RU" sz="1400" b="1" kern="1200" dirty="0">
                        <a:solidFill>
                          <a:schemeClr val="accent1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Кол-во поступивших в магистратуру за</a:t>
                      </a:r>
                      <a:r>
                        <a:rPr lang="ru-RU" sz="1400" b="1" baseline="0" dirty="0" smtClean="0">
                          <a:solidFill>
                            <a:schemeClr val="accent1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 2 </a:t>
                      </a:r>
                      <a:r>
                        <a:rPr lang="ru-RU" sz="1400" b="1" baseline="0" dirty="0" err="1" smtClean="0">
                          <a:solidFill>
                            <a:schemeClr val="accent1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уч.г</a:t>
                      </a:r>
                      <a:r>
                        <a:rPr lang="ru-RU" sz="1400" b="1" baseline="0" dirty="0" smtClean="0">
                          <a:solidFill>
                            <a:schemeClr val="accent1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baseline="0" dirty="0" smtClean="0">
                          <a:solidFill>
                            <a:schemeClr val="accent1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по линии </a:t>
                      </a:r>
                      <a:r>
                        <a:rPr lang="ru-RU" sz="1400" b="1" baseline="0" dirty="0" err="1" smtClean="0">
                          <a:solidFill>
                            <a:schemeClr val="accent1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Росатома</a:t>
                      </a:r>
                      <a:r>
                        <a:rPr lang="ru-RU" sz="1400" b="1" baseline="0" dirty="0" smtClean="0">
                          <a:solidFill>
                            <a:schemeClr val="accent1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 (чел.)</a:t>
                      </a:r>
                      <a:endParaRPr lang="ru-RU" sz="1400" b="1" dirty="0">
                        <a:solidFill>
                          <a:schemeClr val="accent1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Кол-во поданных заявок на</a:t>
                      </a:r>
                      <a:r>
                        <a:rPr lang="ru-RU" sz="1400" b="1" baseline="0" dirty="0" smtClean="0">
                          <a:solidFill>
                            <a:schemeClr val="accent1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 стипендию (чел.)</a:t>
                      </a:r>
                      <a:endParaRPr lang="ru-RU" sz="1400" b="1" dirty="0">
                        <a:solidFill>
                          <a:schemeClr val="accent1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488950"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400" b="1" kern="1200" dirty="0" smtClean="0">
                          <a:solidFill>
                            <a:schemeClr val="accent1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Кол-во отобранных</a:t>
                      </a:r>
                      <a:r>
                        <a:rPr lang="ru-RU" sz="1400" b="1" kern="1200" baseline="0" dirty="0" smtClean="0">
                          <a:solidFill>
                            <a:schemeClr val="accent1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lvl="0" indent="0" algn="ctr" defTabSz="488950"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400" b="1" kern="1200" baseline="0" dirty="0" smtClean="0">
                          <a:solidFill>
                            <a:schemeClr val="accent1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во второй этап (чел.)</a:t>
                      </a:r>
                      <a:endParaRPr lang="ru-RU" sz="1400" b="1" kern="1200" dirty="0">
                        <a:solidFill>
                          <a:schemeClr val="accent1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4765374"/>
                  </a:ext>
                </a:extLst>
              </a:tr>
              <a:tr h="552660">
                <a:tc>
                  <a:txBody>
                    <a:bodyPr/>
                    <a:lstStyle/>
                    <a:p>
                      <a:pPr marL="0" lvl="0" indent="0" algn="ctr" defTabSz="466725"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АЗЕРБАЙДЖАН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3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0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488950"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0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2446019"/>
                  </a:ext>
                </a:extLst>
              </a:tr>
              <a:tr h="465952">
                <a:tc>
                  <a:txBody>
                    <a:bodyPr/>
                    <a:lstStyle/>
                    <a:p>
                      <a:pPr marL="0" lvl="0" indent="0" algn="ctr" defTabSz="488950"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</a:rPr>
                        <a:t>АРМЕНИЯ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</a:endParaRPr>
                    </a:p>
                  </a:txBody>
                  <a:tcPr marL="121807" marR="121807" marT="60904" marB="60904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4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0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488950">
                        <a:lnSpc>
                          <a:spcPct val="90000"/>
                        </a:lnSpc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0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185285"/>
                  </a:ext>
                </a:extLst>
              </a:tr>
              <a:tr h="514350">
                <a:tc>
                  <a:txBody>
                    <a:bodyPr/>
                    <a:lstStyle/>
                    <a:p>
                      <a:pPr marL="0" lvl="0" indent="0" algn="ctr" defTabSz="488950"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</a:rPr>
                        <a:t>БЕЛАРУСЬ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</a:endParaRPr>
                    </a:p>
                  </a:txBody>
                  <a:tcPr marL="121807" marR="121807" marT="60904" marB="60904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3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6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488950">
                        <a:lnSpc>
                          <a:spcPct val="90000"/>
                        </a:lnSpc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2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3937802"/>
                  </a:ext>
                </a:extLst>
              </a:tr>
              <a:tr h="47625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</a:rPr>
                        <a:t>КАЗАХСТАН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</a:endParaRPr>
                    </a:p>
                  </a:txBody>
                  <a:tcPr marL="121807" marR="121807" marT="60904" marB="60904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4</a:t>
                      </a:r>
                      <a:endParaRPr lang="ru-RU" sz="1400" b="1" dirty="0" smtClean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9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488950"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3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3675795"/>
                  </a:ext>
                </a:extLst>
              </a:tr>
              <a:tr h="466725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</a:rPr>
                        <a:t>КИРГИЗИЯ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</a:endParaRPr>
                    </a:p>
                  </a:txBody>
                  <a:tcPr marL="121807" marR="121807" marT="60904" marB="60904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4</a:t>
                      </a:r>
                      <a:endParaRPr lang="ru-RU" sz="1400" b="1" dirty="0" smtClean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1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488950"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1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3480953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</a:rPr>
                        <a:t>ТАДЖИКИСТАН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</a:endParaRPr>
                    </a:p>
                  </a:txBody>
                  <a:tcPr marL="121807" marR="121807" marT="60904" marB="60904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5</a:t>
                      </a:r>
                      <a:endParaRPr lang="ru-RU" sz="1400" b="1" dirty="0" smtClean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0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488950"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0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0693507"/>
                  </a:ext>
                </a:extLst>
              </a:tr>
              <a:tr h="466725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</a:rPr>
                        <a:t>УЗБЕКСИТАН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</a:endParaRPr>
                    </a:p>
                  </a:txBody>
                  <a:tcPr marL="121807" marR="121807" marT="60904" marB="60904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8</a:t>
                      </a:r>
                      <a:endParaRPr lang="ru-RU" sz="1400" b="1" dirty="0" smtClean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11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488950"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6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4147678"/>
                  </a:ext>
                </a:extLst>
              </a:tr>
              <a:tr h="485775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</a:rPr>
                        <a:t>УКРАИНА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</a:endParaRPr>
                    </a:p>
                  </a:txBody>
                  <a:tcPr marL="121807" marR="121807" marT="60904" marB="60904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</a:rPr>
                        <a:t>1</a:t>
                      </a:r>
                      <a:endParaRPr lang="ru-RU" sz="1400" b="1" dirty="0" smtClean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1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488950"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1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9873162"/>
                  </a:ext>
                </a:extLst>
              </a:tr>
              <a:tr h="527831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C0000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</a:rPr>
                        <a:t>Итого: </a:t>
                      </a:r>
                      <a:endParaRPr lang="ru-RU" sz="1400" b="1" dirty="0">
                        <a:solidFill>
                          <a:srgbClr val="C0000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</a:endParaRPr>
                    </a:p>
                  </a:txBody>
                  <a:tcPr marL="121807" marR="121807" marT="60904" marB="60904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C0000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</a:rPr>
                        <a:t>32</a:t>
                      </a:r>
                      <a:endParaRPr lang="ru-RU" sz="1400" b="1" dirty="0" smtClean="0">
                        <a:solidFill>
                          <a:srgbClr val="C0000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C0000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28*</a:t>
                      </a:r>
                      <a:endParaRPr lang="ru-RU" sz="1400" b="1" dirty="0">
                        <a:solidFill>
                          <a:srgbClr val="C0000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488950">
                        <a:spcBef>
                          <a:spcPct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400" b="1" kern="1200" dirty="0" smtClean="0">
                          <a:solidFill>
                            <a:srgbClr val="C00000"/>
                          </a:solidFill>
                          <a:latin typeface="Rosatom" panose="020B0503040504020204" pitchFamily="34" charset="-52"/>
                          <a:ea typeface="Rosatom" panose="020B0503040504020204" pitchFamily="34" charset="-52"/>
                          <a:cs typeface="Arial" panose="020B0604020202020204" pitchFamily="34" charset="0"/>
                        </a:rPr>
                        <a:t>13</a:t>
                      </a:r>
                      <a:endParaRPr lang="ru-RU" sz="1400" b="1" kern="1200" dirty="0">
                        <a:solidFill>
                          <a:srgbClr val="C00000"/>
                        </a:solidFill>
                        <a:latin typeface="Rosatom" panose="020B0503040504020204" pitchFamily="34" charset="-52"/>
                        <a:ea typeface="Rosatom" panose="020B0503040504020204" pitchFamily="34" charset="-52"/>
                        <a:cs typeface="Arial" panose="020B0604020202020204" pitchFamily="34" charset="0"/>
                      </a:endParaRPr>
                    </a:p>
                  </a:txBody>
                  <a:tcPr marL="121807" marR="121807" marT="60904" marB="60904" anchor="ctr">
                    <a:lnL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2698988"/>
                  </a:ext>
                </a:extLst>
              </a:tr>
            </a:tbl>
          </a:graphicData>
        </a:graphic>
      </p:graphicFrame>
      <p:sp>
        <p:nvSpPr>
          <p:cNvPr id="5" name="Заголовок 5"/>
          <p:cNvSpPr>
            <a:spLocks noGrp="1"/>
          </p:cNvSpPr>
          <p:nvPr>
            <p:ph type="title"/>
          </p:nvPr>
        </p:nvSpPr>
        <p:spPr>
          <a:xfrm>
            <a:off x="443418" y="422827"/>
            <a:ext cx="8748712" cy="439738"/>
          </a:xfrm>
        </p:spPr>
        <p:txBody>
          <a:bodyPr/>
          <a:lstStyle/>
          <a:p>
            <a:r>
              <a:rPr lang="ru-RU" sz="2400" dirty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  <a:t>ПЕРВЫЙ </a:t>
            </a:r>
            <a:r>
              <a:rPr lang="ru-RU" sz="2400" dirty="0" smtClean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  <a:t>ЭТАП: оценка документов </a:t>
            </a:r>
            <a:endParaRPr lang="ru-RU" sz="2400" dirty="0">
              <a:solidFill>
                <a:srgbClr val="002060"/>
              </a:solidFill>
              <a:latin typeface="Rosatom" panose="020B0604020202020204" charset="-52"/>
              <a:ea typeface="Rosatom" panose="020B0604020202020204" charset="-52"/>
              <a:cs typeface="Ebrima" panose="02000000000000000000" pitchFamily="2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986" y="2165014"/>
            <a:ext cx="432854" cy="43285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DD4D6FE-D7A7-2298-2055-95894A0FD5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03969" y="2653513"/>
            <a:ext cx="432000" cy="4320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B8AA381-EF68-3B1E-EBA0-1A1DC1EE7AB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3969" y="3141158"/>
            <a:ext cx="432000" cy="4320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0CF7B22-1BB8-6462-4EA7-281B3A6F2D1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9786" y="3615272"/>
            <a:ext cx="432000" cy="43200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2F556A6-5305-B3BD-D2CD-5098B54E69F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89786" y="4109458"/>
            <a:ext cx="432000" cy="43200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96802D9-E9CD-0455-B6D1-7C643504954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9786" y="4628883"/>
            <a:ext cx="432000" cy="4320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87938">
            <a:off x="248263" y="5082467"/>
            <a:ext cx="515047" cy="51504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969" y="1656733"/>
            <a:ext cx="422871" cy="422871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726840" y="6084828"/>
            <a:ext cx="106174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*</a:t>
            </a:r>
            <a:r>
              <a:rPr lang="ru-RU" dirty="0" smtClean="0">
                <a:latin typeface="Rosatom" panose="020B0503040504020204" pitchFamily="34" charset="-52"/>
                <a:ea typeface="Rosatom" panose="020B0503040504020204" pitchFamily="34" charset="-52"/>
              </a:rPr>
              <a:t> </a:t>
            </a: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Включая студентов</a:t>
            </a:r>
            <a:r>
              <a:rPr lang="ru-RU" sz="1400" dirty="0">
                <a:latin typeface="Rosatom" panose="020B0503040504020204" pitchFamily="34" charset="-52"/>
                <a:ea typeface="Rosatom" panose="020B0503040504020204" pitchFamily="34" charset="-52"/>
              </a:rPr>
              <a:t>, </a:t>
            </a: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поступивших не </a:t>
            </a:r>
            <a:r>
              <a:rPr lang="ru-RU" sz="1400" dirty="0">
                <a:latin typeface="Rosatom" panose="020B0503040504020204" pitchFamily="34" charset="-52"/>
                <a:ea typeface="Rosatom" panose="020B0503040504020204" pitchFamily="34" charset="-52"/>
              </a:rPr>
              <a:t>только </a:t>
            </a: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 </a:t>
            </a:r>
            <a:r>
              <a:rPr lang="ru-RU" sz="1400" dirty="0">
                <a:latin typeface="Rosatom" panose="020B0503040504020204" pitchFamily="34" charset="-52"/>
                <a:ea typeface="Rosatom" panose="020B0503040504020204" pitchFamily="34" charset="-52"/>
              </a:rPr>
              <a:t>по квотам по линии </a:t>
            </a:r>
            <a:r>
              <a:rPr lang="ru-RU" sz="1400" dirty="0" err="1">
                <a:latin typeface="Rosatom" panose="020B0503040504020204" pitchFamily="34" charset="-52"/>
                <a:ea typeface="Rosatom" panose="020B0503040504020204" pitchFamily="34" charset="-52"/>
              </a:rPr>
              <a:t>Госкорпорации</a:t>
            </a:r>
            <a:r>
              <a:rPr lang="ru-RU" sz="1400" dirty="0">
                <a:latin typeface="Rosatom" panose="020B0503040504020204" pitchFamily="34" charset="-52"/>
                <a:ea typeface="Rosatom" panose="020B0503040504020204" pitchFamily="34" charset="-52"/>
              </a:rPr>
              <a:t> «</a:t>
            </a: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Росатом</a:t>
            </a:r>
            <a:r>
              <a:rPr lang="ru-RU" sz="1400" dirty="0">
                <a:latin typeface="Rosatom" panose="020B0503040504020204" pitchFamily="34" charset="-52"/>
                <a:ea typeface="Rosatom" panose="020B0503040504020204" pitchFamily="34" charset="-52"/>
              </a:rPr>
              <a:t>», но и </a:t>
            </a: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по </a:t>
            </a:r>
            <a:r>
              <a:rPr lang="ru-RU" sz="1400" dirty="0" err="1">
                <a:latin typeface="Rosatom" panose="020B0503040504020204" pitchFamily="34" charset="-52"/>
                <a:ea typeface="Rosatom" panose="020B0503040504020204" pitchFamily="34" charset="-52"/>
              </a:rPr>
              <a:t>общестрановой</a:t>
            </a:r>
            <a:r>
              <a:rPr lang="ru-RU" sz="1400" dirty="0">
                <a:latin typeface="Rosatom" panose="020B0503040504020204" pitchFamily="34" charset="-52"/>
                <a:ea typeface="Rosatom" panose="020B0503040504020204" pitchFamily="34" charset="-52"/>
              </a:rPr>
              <a:t> квоте и на условиях равного приема для </a:t>
            </a: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граждан стран СНГ    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780882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6539696" y="4161899"/>
            <a:ext cx="4502571" cy="433250"/>
          </a:xfrm>
        </p:spPr>
        <p:txBody>
          <a:bodyPr/>
          <a:lstStyle/>
          <a:p>
            <a:pPr algn="ctr"/>
            <a:r>
              <a:rPr lang="ru-RU" sz="1000" b="1" dirty="0" smtClean="0"/>
              <a:t>Пример задания: </a:t>
            </a:r>
            <a:r>
              <a:rPr lang="ru-RU" sz="1000" b="1" dirty="0"/>
              <a:t>Разработка тестовых заданий по тематике основ конструкции реакторов типа ВВЭР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  <a:t>ВТОРОЙ ЭТАП: решение кейсов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719667" y="1216616"/>
            <a:ext cx="5353051" cy="2786974"/>
          </a:xfrm>
        </p:spPr>
        <p:txBody>
          <a:bodyPr/>
          <a:lstStyle/>
          <a:p>
            <a:pPr algn="just"/>
            <a:r>
              <a:rPr lang="ru-RU" sz="1800" dirty="0" smtClean="0">
                <a:latin typeface="Rosatom" panose="020B0604020202020204"/>
              </a:rPr>
              <a:t>Начало 17 октября 2023 г. </a:t>
            </a:r>
          </a:p>
          <a:p>
            <a:pPr algn="just"/>
            <a:r>
              <a:rPr lang="ru-RU" sz="1800" dirty="0" smtClean="0">
                <a:latin typeface="Rosatom" panose="020B0604020202020204"/>
              </a:rPr>
              <a:t>Для его успешного прохождения участникам необходимо было решить 5 кейсов.</a:t>
            </a:r>
          </a:p>
          <a:p>
            <a:pPr algn="just"/>
            <a:r>
              <a:rPr lang="ru-RU" sz="1800" dirty="0" smtClean="0">
                <a:latin typeface="Rosatom" panose="020B0604020202020204"/>
              </a:rPr>
              <a:t>Решение кейса представлялось в виде видео-ответа, либо в виде </a:t>
            </a:r>
            <a:r>
              <a:rPr lang="en-US" sz="1800" dirty="0" smtClean="0"/>
              <a:t>PDF-</a:t>
            </a:r>
            <a:r>
              <a:rPr lang="ru-RU" sz="1800" dirty="0" smtClean="0">
                <a:latin typeface="Rosatom" panose="020B0604020202020204"/>
              </a:rPr>
              <a:t>файла.</a:t>
            </a:r>
            <a:endParaRPr lang="ru-RU" sz="1800" dirty="0">
              <a:latin typeface="Rosatom" panose="020B0604020202020204"/>
            </a:endParaRPr>
          </a:p>
        </p:txBody>
      </p:sp>
      <p:pic>
        <p:nvPicPr>
          <p:cNvPr id="2" name="Рисунок 1"/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85" b="11485"/>
          <a:stretch>
            <a:fillRect/>
          </a:stretch>
        </p:blipFill>
        <p:spPr>
          <a:xfrm>
            <a:off x="6174763" y="892656"/>
            <a:ext cx="5444073" cy="3391648"/>
          </a:xfr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60" y="2952750"/>
            <a:ext cx="5732704" cy="320673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6072718" y="4919017"/>
            <a:ext cx="5476652" cy="584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599" b="1" dirty="0" smtClean="0">
                <a:solidFill>
                  <a:schemeClr val="accent1">
                    <a:lumMod val="50000"/>
                  </a:schemeClr>
                </a:solidFill>
                <a:latin typeface="Rosatom" panose="020B0604020202020204"/>
                <a:ea typeface="Arial" charset="0"/>
                <a:cs typeface="Arial" charset="0"/>
              </a:rPr>
              <a:t>Вес первого этапа оказался больше, </a:t>
            </a:r>
          </a:p>
          <a:p>
            <a:pPr algn="just"/>
            <a:r>
              <a:rPr lang="ru-RU" sz="1599" b="1" dirty="0" smtClean="0">
                <a:solidFill>
                  <a:schemeClr val="accent1">
                    <a:lumMod val="50000"/>
                  </a:schemeClr>
                </a:solidFill>
                <a:latin typeface="Rosatom" panose="020B0604020202020204"/>
                <a:ea typeface="Arial" charset="0"/>
                <a:cs typeface="Arial" charset="0"/>
              </a:rPr>
              <a:t>чем решение кейсов  - требуется корректировка </a:t>
            </a:r>
            <a:endParaRPr lang="ru-RU" sz="1599" b="1" dirty="0">
              <a:solidFill>
                <a:schemeClr val="accent1">
                  <a:lumMod val="50000"/>
                </a:schemeClr>
              </a:solidFill>
              <a:latin typeface="Rosatom" panose="020B0604020202020204"/>
              <a:ea typeface="Arial" charset="0"/>
              <a:cs typeface="Arial" charset="0"/>
            </a:endParaRPr>
          </a:p>
        </p:txBody>
      </p:sp>
      <p:sp>
        <p:nvSpPr>
          <p:cNvPr id="10" name="Текст 7"/>
          <p:cNvSpPr txBox="1">
            <a:spLocks/>
          </p:cNvSpPr>
          <p:nvPr/>
        </p:nvSpPr>
        <p:spPr>
          <a:xfrm>
            <a:off x="1273215" y="6159480"/>
            <a:ext cx="4135639" cy="380216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218072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 sz="932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166" indent="-228389" algn="l" defTabSz="9135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1943" indent="-228389" algn="l" defTabSz="9135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8720" indent="-228389" algn="l" defTabSz="9135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497" indent="-228389" algn="l" defTabSz="9135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2274" indent="-228389" algn="l" defTabSz="9135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051" indent="-228389" algn="l" defTabSz="9135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5828" indent="-228389" algn="l" defTabSz="9135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2605" indent="-228389" algn="l" defTabSz="9135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b="1" dirty="0" smtClean="0"/>
              <a:t>Сайт Конкурса, пример личного кабинета участника, прошедшего во второй этап.</a:t>
            </a:r>
            <a:endParaRPr lang="ru-RU" sz="1050" b="1" dirty="0"/>
          </a:p>
        </p:txBody>
      </p:sp>
    </p:spTree>
    <p:extLst>
      <p:ext uri="{BB962C8B-B14F-4D97-AF65-F5344CB8AC3E}">
        <p14:creationId xmlns:p14="http://schemas.microsoft.com/office/powerpoint/2010/main" val="23152571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320164"/>
            <a:ext cx="4277847" cy="4307282"/>
          </a:xfrm>
          <a:prstGeom prst="rect">
            <a:avLst/>
          </a:prstGeom>
        </p:spPr>
      </p:pic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355434" y="316644"/>
            <a:ext cx="9738676" cy="439859"/>
          </a:xfrm>
        </p:spPr>
        <p:txBody>
          <a:bodyPr/>
          <a:lstStyle/>
          <a:p>
            <a:r>
              <a:rPr lang="ru-RU" sz="2400" dirty="0" smtClean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  <a:t>ОРГАНИЗАЦИЯ РАБОТЫ КОНКУРСНОЙ КОМИССИИ</a:t>
            </a:r>
            <a:endParaRPr lang="ru-RU" sz="2400" dirty="0">
              <a:solidFill>
                <a:srgbClr val="002060"/>
              </a:solidFill>
              <a:latin typeface="Rosatom" panose="020B0604020202020204" charset="-52"/>
              <a:ea typeface="Rosatom" panose="020B0604020202020204" charset="-52"/>
              <a:cs typeface="Ebrima" panose="02000000000000000000" pitchFamily="2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6622" y="2267597"/>
            <a:ext cx="4730748" cy="450396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696622" y="988720"/>
            <a:ext cx="422486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Личный кабинет </a:t>
            </a: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эксперта </a:t>
            </a: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Конкурсной комиссии на </a:t>
            </a:r>
            <a:r>
              <a:rPr lang="en-US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I</a:t>
            </a: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 этапе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В колонке «Баллы заявки» представлены баллы, проставленные Оператором конкурса и </a:t>
            </a: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экспертом </a:t>
            </a: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Конкурсной комиссии</a:t>
            </a:r>
            <a:endParaRPr lang="ru-RU" sz="1400" dirty="0">
              <a:latin typeface="Rosatom" panose="020B0503040504020204" pitchFamily="34" charset="-52"/>
              <a:ea typeface="Rosatom" panose="020B0503040504020204" pitchFamily="34" charset="-52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981677" y="1016970"/>
            <a:ext cx="422486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Личный кабинет </a:t>
            </a: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эксперта </a:t>
            </a: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Конкурсной комиссии на </a:t>
            </a:r>
            <a:r>
              <a:rPr lang="en-US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II</a:t>
            </a: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 этапе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В колонке «Решение кейса» эксперт </a:t>
            </a: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оценивает </a:t>
            </a: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решение кейса, загруженное участником</a:t>
            </a:r>
            <a:endParaRPr lang="ru-RU" sz="1400" dirty="0">
              <a:latin typeface="Rosatom" panose="020B0503040504020204" pitchFamily="34" charset="-52"/>
              <a:ea typeface="Rosatom" panose="020B0503040504020204" pitchFamily="34" charset="-52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3476" y="2262008"/>
            <a:ext cx="3963068" cy="420159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33998" y="808124"/>
            <a:ext cx="2881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Принципы работы:</a:t>
            </a:r>
            <a:endParaRPr lang="ru-RU" b="1" dirty="0">
              <a:latin typeface="Rosatom" panose="020B0503040504020204" pitchFamily="34" charset="-52"/>
              <a:ea typeface="Rosatom" panose="020B0503040504020204" pitchFamily="34" charset="-5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10642" y="1201636"/>
            <a:ext cx="3124200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Независимост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Rosatom" panose="020B0503040504020204" pitchFamily="34" charset="-52"/>
                <a:ea typeface="Rosatom" panose="020B0503040504020204" pitchFamily="34" charset="-52"/>
              </a:rPr>
              <a:t>Конфиденциальност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Эксперты из атомной отрасл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Представители стран СНГ</a:t>
            </a:r>
          </a:p>
          <a:p>
            <a:r>
              <a:rPr lang="ru-RU" sz="1400" dirty="0" smtClean="0">
                <a:latin typeface="Rosatom" panose="020B0503040504020204" pitchFamily="34" charset="-52"/>
                <a:ea typeface="Rosatom" panose="020B0503040504020204" pitchFamily="34" charset="-52"/>
              </a:rPr>
              <a:t>       (см. приложение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42394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697971" y="330726"/>
            <a:ext cx="8748184" cy="439859"/>
          </a:xfrm>
        </p:spPr>
        <p:txBody>
          <a:bodyPr/>
          <a:lstStyle/>
          <a:p>
            <a:r>
              <a:rPr lang="ru-RU" sz="2400" dirty="0" smtClean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  <a:t>СПИСОК </a:t>
            </a:r>
            <a:r>
              <a:rPr lang="ru-RU" sz="2400" dirty="0" smtClean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  <a:t>ФИНАЛИСТОВ: </a:t>
            </a:r>
            <a:r>
              <a:rPr lang="ru-RU" sz="2400" dirty="0" smtClean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  <a:t/>
            </a:r>
            <a:br>
              <a:rPr lang="ru-RU" sz="2400" dirty="0" smtClean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</a:br>
            <a:r>
              <a:rPr lang="ru-RU" sz="2400" dirty="0" smtClean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  <a:t>рекомендован Конкурсной комиссией </a:t>
            </a:r>
            <a:br>
              <a:rPr lang="ru-RU" sz="2400" dirty="0" smtClean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</a:br>
            <a:r>
              <a:rPr lang="ru-RU" sz="2400" dirty="0" smtClean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  <a:t>к утверждению </a:t>
            </a:r>
            <a:r>
              <a:rPr lang="ru-RU" sz="2400" dirty="0" err="1" smtClean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  <a:t>Госкорпорацей</a:t>
            </a:r>
            <a:r>
              <a:rPr lang="ru-RU" sz="2400" dirty="0" smtClean="0">
                <a:solidFill>
                  <a:srgbClr val="002060"/>
                </a:solidFill>
                <a:latin typeface="Rosatom" panose="020B0604020202020204" charset="-52"/>
                <a:ea typeface="Rosatom" panose="020B0604020202020204" charset="-52"/>
                <a:cs typeface="Ebrima" panose="02000000000000000000" pitchFamily="2" charset="0"/>
              </a:rPr>
              <a:t> «Росатом»  </a:t>
            </a:r>
            <a:endParaRPr lang="ru-RU" sz="2400" dirty="0">
              <a:solidFill>
                <a:srgbClr val="002060"/>
              </a:solidFill>
              <a:latin typeface="Rosatom" panose="020B0604020202020204" charset="-52"/>
              <a:ea typeface="Rosatom" panose="020B0604020202020204" charset="-52"/>
              <a:cs typeface="Ebrima" panose="02000000000000000000" pitchFamily="2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6200000">
            <a:off x="-2209800" y="2209799"/>
            <a:ext cx="6858002" cy="24384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697971" y="1502688"/>
            <a:ext cx="8704161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ОСНОВНОЙ СПИСОК:</a:t>
            </a:r>
          </a:p>
          <a:p>
            <a:endParaRPr lang="ru-RU" dirty="0"/>
          </a:p>
          <a:p>
            <a:r>
              <a:rPr lang="ru-RU" dirty="0" smtClean="0"/>
              <a:t>1) Амин</a:t>
            </a:r>
            <a:r>
              <a:rPr lang="ru-RU" dirty="0"/>
              <a:t>	</a:t>
            </a:r>
            <a:r>
              <a:rPr lang="ru-RU" dirty="0" err="1" smtClean="0"/>
              <a:t>Шадыев</a:t>
            </a:r>
            <a:r>
              <a:rPr lang="ru-RU" dirty="0" smtClean="0"/>
              <a:t>		Республика Узбекистан  	НИЯУ МИФИ </a:t>
            </a:r>
          </a:p>
          <a:p>
            <a:r>
              <a:rPr lang="ru-RU" dirty="0" smtClean="0"/>
              <a:t>2) </a:t>
            </a:r>
            <a:r>
              <a:rPr lang="ru-RU" dirty="0" err="1" smtClean="0"/>
              <a:t>Дилфуза</a:t>
            </a:r>
            <a:r>
              <a:rPr lang="ru-RU" dirty="0" smtClean="0"/>
              <a:t> Таджибаева</a:t>
            </a:r>
            <a:r>
              <a:rPr lang="ru-RU" dirty="0"/>
              <a:t>	</a:t>
            </a:r>
            <a:r>
              <a:rPr lang="ru-RU" dirty="0" smtClean="0"/>
              <a:t>Республика </a:t>
            </a:r>
            <a:r>
              <a:rPr lang="ru-RU" dirty="0"/>
              <a:t>Узбекистан </a:t>
            </a:r>
            <a:r>
              <a:rPr lang="ru-RU" dirty="0" smtClean="0"/>
              <a:t>	НИЯУ МИФИ</a:t>
            </a:r>
            <a:endParaRPr lang="ru-RU" dirty="0"/>
          </a:p>
          <a:p>
            <a:r>
              <a:rPr lang="ru-RU" dirty="0" smtClean="0"/>
              <a:t>3) Евгений Дедков</a:t>
            </a:r>
            <a:r>
              <a:rPr lang="ru-RU" dirty="0"/>
              <a:t>	</a:t>
            </a:r>
            <a:r>
              <a:rPr lang="ru-RU" dirty="0" smtClean="0"/>
              <a:t>	Республика </a:t>
            </a:r>
            <a:r>
              <a:rPr lang="ru-RU" dirty="0"/>
              <a:t>Беларусь </a:t>
            </a:r>
            <a:r>
              <a:rPr lang="ru-RU" dirty="0" smtClean="0"/>
              <a:t> 	МФТИ</a:t>
            </a:r>
            <a:endParaRPr lang="ru-RU" dirty="0"/>
          </a:p>
          <a:p>
            <a:r>
              <a:rPr lang="ru-RU" dirty="0" smtClean="0"/>
              <a:t>4) Артем</a:t>
            </a:r>
            <a:r>
              <a:rPr lang="ru-RU" dirty="0"/>
              <a:t>	</a:t>
            </a:r>
            <a:r>
              <a:rPr lang="ru-RU" dirty="0" err="1"/>
              <a:t>Мухамедянов</a:t>
            </a:r>
            <a:r>
              <a:rPr lang="ru-RU" dirty="0"/>
              <a:t>	</a:t>
            </a:r>
            <a:r>
              <a:rPr lang="ru-RU" dirty="0" smtClean="0"/>
              <a:t>Республика </a:t>
            </a:r>
            <a:r>
              <a:rPr lang="ru-RU" dirty="0"/>
              <a:t>Казахстан </a:t>
            </a:r>
            <a:r>
              <a:rPr lang="ru-RU" dirty="0" smtClean="0"/>
              <a:t>	МФТИ</a:t>
            </a:r>
          </a:p>
          <a:p>
            <a:r>
              <a:rPr lang="ru-RU" dirty="0" smtClean="0"/>
              <a:t>5) </a:t>
            </a:r>
            <a:r>
              <a:rPr lang="ru-RU" dirty="0" err="1" smtClean="0"/>
              <a:t>Жамшид</a:t>
            </a:r>
            <a:r>
              <a:rPr lang="ru-RU" dirty="0" smtClean="0"/>
              <a:t> Бабаев</a:t>
            </a:r>
            <a:r>
              <a:rPr lang="ru-RU" dirty="0"/>
              <a:t>	</a:t>
            </a:r>
            <a:r>
              <a:rPr lang="ru-RU" dirty="0" smtClean="0"/>
              <a:t>Республика </a:t>
            </a:r>
            <a:r>
              <a:rPr lang="ru-RU" dirty="0"/>
              <a:t>Узбекистан </a:t>
            </a:r>
            <a:r>
              <a:rPr lang="ru-RU" dirty="0" smtClean="0"/>
              <a:t>	НИФУ МИФИ</a:t>
            </a:r>
          </a:p>
          <a:p>
            <a:r>
              <a:rPr lang="ru-RU" dirty="0" smtClean="0"/>
              <a:t>6) Татьяна Линкова</a:t>
            </a:r>
            <a:r>
              <a:rPr lang="ru-RU" dirty="0"/>
              <a:t>	</a:t>
            </a:r>
            <a:r>
              <a:rPr lang="ru-RU" dirty="0" smtClean="0"/>
              <a:t>Украина 			МФТИ</a:t>
            </a:r>
          </a:p>
          <a:p>
            <a:r>
              <a:rPr lang="ru-RU" dirty="0" smtClean="0"/>
              <a:t>7) </a:t>
            </a:r>
            <a:r>
              <a:rPr lang="ru-RU" dirty="0" err="1" smtClean="0"/>
              <a:t>Темирлан</a:t>
            </a:r>
            <a:r>
              <a:rPr lang="ru-RU" dirty="0" smtClean="0"/>
              <a:t> Хусаинов</a:t>
            </a:r>
            <a:r>
              <a:rPr lang="ru-RU" dirty="0"/>
              <a:t>	</a:t>
            </a:r>
            <a:r>
              <a:rPr lang="ru-RU" dirty="0" smtClean="0"/>
              <a:t>Республика Казахстан 	НИЯУ МИФИ </a:t>
            </a:r>
            <a:endParaRPr lang="ru-RU" dirty="0"/>
          </a:p>
          <a:p>
            <a:r>
              <a:rPr lang="ru-RU" dirty="0" smtClean="0"/>
              <a:t>8) Анастасия </a:t>
            </a:r>
            <a:r>
              <a:rPr lang="ru-RU" dirty="0" err="1" smtClean="0"/>
              <a:t>Томашева</a:t>
            </a:r>
            <a:r>
              <a:rPr lang="ru-RU" dirty="0"/>
              <a:t>	</a:t>
            </a:r>
            <a:r>
              <a:rPr lang="ru-RU" dirty="0" smtClean="0"/>
              <a:t>Республика </a:t>
            </a:r>
            <a:r>
              <a:rPr lang="ru-RU" dirty="0"/>
              <a:t>Беларусь </a:t>
            </a:r>
            <a:r>
              <a:rPr lang="ru-RU" dirty="0" smtClean="0"/>
              <a:t>	НИЯУ МИФИ</a:t>
            </a:r>
            <a:endParaRPr lang="ru-RU" dirty="0"/>
          </a:p>
          <a:p>
            <a:r>
              <a:rPr lang="ru-RU" dirty="0" smtClean="0"/>
              <a:t>9) </a:t>
            </a:r>
            <a:r>
              <a:rPr lang="ru-RU" dirty="0" err="1" smtClean="0"/>
              <a:t>Мардон</a:t>
            </a:r>
            <a:r>
              <a:rPr lang="ru-RU" dirty="0" smtClean="0"/>
              <a:t> </a:t>
            </a:r>
            <a:r>
              <a:rPr lang="ru-RU" dirty="0" err="1" smtClean="0"/>
              <a:t>Абдуназаров</a:t>
            </a:r>
            <a:r>
              <a:rPr lang="ru-RU" dirty="0"/>
              <a:t>	</a:t>
            </a:r>
            <a:r>
              <a:rPr lang="ru-RU" dirty="0" smtClean="0"/>
              <a:t>Республика </a:t>
            </a:r>
            <a:r>
              <a:rPr lang="ru-RU" dirty="0"/>
              <a:t>Узбекистан </a:t>
            </a:r>
            <a:r>
              <a:rPr lang="ru-RU" dirty="0" smtClean="0"/>
              <a:t>	НИЯУ МИФИ</a:t>
            </a:r>
            <a:endParaRPr lang="ru-RU" dirty="0"/>
          </a:p>
          <a:p>
            <a:r>
              <a:rPr lang="ru-RU" dirty="0" smtClean="0"/>
              <a:t>10) Айдар </a:t>
            </a:r>
            <a:r>
              <a:rPr lang="ru-RU" dirty="0" err="1"/>
              <a:t>Кенжалыев</a:t>
            </a:r>
            <a:r>
              <a:rPr lang="ru-RU" dirty="0"/>
              <a:t>	</a:t>
            </a:r>
            <a:r>
              <a:rPr lang="ru-RU" dirty="0" smtClean="0"/>
              <a:t>Киргизская </a:t>
            </a:r>
            <a:r>
              <a:rPr lang="ru-RU" dirty="0"/>
              <a:t>Республика </a:t>
            </a:r>
            <a:r>
              <a:rPr lang="ru-RU" dirty="0" smtClean="0"/>
              <a:t>	НИУ МЭИ</a:t>
            </a:r>
            <a:endParaRPr lang="ru-RU" dirty="0"/>
          </a:p>
          <a:p>
            <a:endParaRPr lang="ru-RU" b="1" dirty="0"/>
          </a:p>
          <a:p>
            <a:r>
              <a:rPr lang="ru-RU" b="1" dirty="0" smtClean="0"/>
              <a:t>РЕЗЕРВНЫЙ СПИСОК:</a:t>
            </a:r>
          </a:p>
          <a:p>
            <a:endParaRPr lang="ru-RU" dirty="0" smtClean="0"/>
          </a:p>
          <a:p>
            <a:r>
              <a:rPr lang="ru-RU" dirty="0"/>
              <a:t>11) Дмитрий </a:t>
            </a:r>
            <a:r>
              <a:rPr lang="ru-RU" dirty="0" err="1"/>
              <a:t>Реваев</a:t>
            </a:r>
            <a:r>
              <a:rPr lang="ru-RU" dirty="0"/>
              <a:t>	</a:t>
            </a:r>
            <a:r>
              <a:rPr lang="ru-RU" dirty="0" smtClean="0"/>
              <a:t>Республика </a:t>
            </a:r>
            <a:r>
              <a:rPr lang="ru-RU" dirty="0"/>
              <a:t>Казахстан </a:t>
            </a:r>
            <a:r>
              <a:rPr lang="ru-RU" dirty="0" smtClean="0"/>
              <a:t>	МФТИ</a:t>
            </a:r>
          </a:p>
          <a:p>
            <a:r>
              <a:rPr lang="ru-RU" dirty="0" smtClean="0"/>
              <a:t>12) </a:t>
            </a:r>
            <a:r>
              <a:rPr lang="ru-RU" dirty="0" err="1" smtClean="0"/>
              <a:t>Камиля</a:t>
            </a:r>
            <a:r>
              <a:rPr lang="ru-RU" dirty="0" smtClean="0"/>
              <a:t> Кадырова</a:t>
            </a:r>
            <a:r>
              <a:rPr lang="ru-RU" dirty="0"/>
              <a:t>	</a:t>
            </a:r>
            <a:r>
              <a:rPr lang="ru-RU" dirty="0" smtClean="0"/>
              <a:t>Республика </a:t>
            </a:r>
            <a:r>
              <a:rPr lang="ru-RU" dirty="0"/>
              <a:t>Узбекистан </a:t>
            </a:r>
            <a:r>
              <a:rPr lang="ru-RU" dirty="0" smtClean="0"/>
              <a:t>	НИУ МЭИ</a:t>
            </a:r>
            <a:endParaRPr lang="ru-RU" dirty="0"/>
          </a:p>
          <a:p>
            <a:endParaRPr lang="ru-RU" dirty="0" smtClean="0"/>
          </a:p>
          <a:p>
            <a:r>
              <a:rPr lang="ru-RU" dirty="0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4798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24377" y="455423"/>
            <a:ext cx="9016389" cy="353936"/>
          </a:xfrm>
        </p:spPr>
        <p:txBody>
          <a:bodyPr/>
          <a:lstStyle/>
          <a:p>
            <a:r>
              <a:rPr lang="ru-RU" sz="2398" dirty="0">
                <a:solidFill>
                  <a:srgbClr val="002060"/>
                </a:solidFill>
                <a:cs typeface="Calibri" panose="020F0502020204030204" pitchFamily="34" charset="0"/>
              </a:rPr>
              <a:t>ПРЕДЛОЖЕНИЯ В ПРОТОКОЛ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14155" y="935704"/>
            <a:ext cx="10743247" cy="5386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  <a:latin typeface="Rosatom" panose="020B0503040504020204" pitchFamily="34" charset="-52"/>
                <a:ea typeface="Rosatom" panose="020B0503040504020204" pitchFamily="34" charset="-52"/>
              </a:rPr>
              <a:t>1. </a:t>
            </a:r>
            <a:r>
              <a:rPr lang="ru-RU" b="1" dirty="0" smtClean="0">
                <a:solidFill>
                  <a:srgbClr val="002060"/>
                </a:solidFill>
                <a:latin typeface="Rosatom" panose="020B0503040504020204" pitchFamily="34" charset="-52"/>
                <a:ea typeface="Rosatom" panose="020B0503040504020204" pitchFamily="34" charset="-52"/>
              </a:rPr>
              <a:t>Признать </a:t>
            </a:r>
            <a:r>
              <a:rPr lang="ru-RU" b="1" dirty="0">
                <a:solidFill>
                  <a:srgbClr val="002060"/>
                </a:solidFill>
                <a:latin typeface="Rosatom" panose="020B0503040504020204" pitchFamily="34" charset="-52"/>
                <a:ea typeface="Rosatom" panose="020B0503040504020204" pitchFamily="34" charset="-52"/>
              </a:rPr>
              <a:t>пилотный проект </a:t>
            </a:r>
            <a:r>
              <a:rPr lang="ru-RU" b="1" dirty="0" smtClean="0">
                <a:solidFill>
                  <a:srgbClr val="002060"/>
                </a:solidFill>
                <a:latin typeface="Rosatom" panose="020B0503040504020204" pitchFamily="34" charset="-52"/>
                <a:ea typeface="Rosatom" panose="020B0503040504020204" pitchFamily="34" charset="-52"/>
              </a:rPr>
              <a:t>Стипендий </a:t>
            </a:r>
            <a:r>
              <a:rPr lang="ru-RU" b="1" dirty="0" err="1" smtClean="0">
                <a:solidFill>
                  <a:srgbClr val="002060"/>
                </a:solidFill>
                <a:latin typeface="Rosatom" panose="020B0503040504020204" pitchFamily="34" charset="-52"/>
                <a:ea typeface="Rosatom" panose="020B0503040504020204" pitchFamily="34" charset="-52"/>
              </a:rPr>
              <a:t>Росатома</a:t>
            </a:r>
            <a:r>
              <a:rPr lang="ru-RU" b="1" dirty="0" smtClean="0">
                <a:solidFill>
                  <a:srgbClr val="002060"/>
                </a:solidFill>
                <a:latin typeface="Rosatom" panose="020B0503040504020204" pitchFamily="34" charset="-52"/>
                <a:ea typeface="Rosatom" panose="020B0503040504020204" pitchFamily="34" charset="-52"/>
              </a:rPr>
              <a:t> успешным</a:t>
            </a:r>
          </a:p>
          <a:p>
            <a:endParaRPr lang="ru-RU" b="1" dirty="0" smtClean="0">
              <a:solidFill>
                <a:srgbClr val="002060"/>
              </a:solidFill>
              <a:latin typeface="Rosatom" panose="020B0503040504020204" pitchFamily="34" charset="-52"/>
              <a:ea typeface="Rosatom" panose="020B0503040504020204" pitchFamily="34" charset="-52"/>
            </a:endParaRPr>
          </a:p>
          <a:p>
            <a:r>
              <a:rPr lang="ru-RU" dirty="0" smtClean="0">
                <a:solidFill>
                  <a:srgbClr val="002060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" panose="020B0604020202020204" pitchFamily="34" charset="0"/>
              </a:rPr>
              <a:t>2. </a:t>
            </a:r>
            <a:r>
              <a:rPr lang="ru-RU" b="1" dirty="0" smtClean="0">
                <a:solidFill>
                  <a:srgbClr val="002060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" panose="020B0604020202020204" pitchFamily="34" charset="0"/>
              </a:rPr>
              <a:t>Расширить </a:t>
            </a:r>
            <a:r>
              <a:rPr lang="ru-RU" b="1" dirty="0" smtClean="0">
                <a:solidFill>
                  <a:srgbClr val="002060"/>
                </a:solidFill>
                <a:latin typeface="Rosatom" panose="020B0604020202020204"/>
              </a:rPr>
              <a:t>категории </a:t>
            </a:r>
            <a:r>
              <a:rPr lang="ru-RU" b="1" dirty="0">
                <a:solidFill>
                  <a:srgbClr val="002060"/>
                </a:solidFill>
                <a:latin typeface="Rosatom" panose="020B0604020202020204"/>
              </a:rPr>
              <a:t>заявителей </a:t>
            </a:r>
            <a:r>
              <a:rPr lang="ru-RU" dirty="0">
                <a:solidFill>
                  <a:srgbClr val="002060"/>
                </a:solidFill>
                <a:latin typeface="Rosatom" panose="020B0604020202020204"/>
              </a:rPr>
              <a:t>(не только студенты, поступившие  по квотам по линии </a:t>
            </a:r>
            <a:r>
              <a:rPr lang="ru-RU" dirty="0" smtClean="0">
                <a:solidFill>
                  <a:srgbClr val="002060"/>
                </a:solidFill>
                <a:latin typeface="Rosatom" panose="020B0604020202020204"/>
              </a:rPr>
              <a:t>   </a:t>
            </a:r>
            <a:r>
              <a:rPr lang="ru-RU" dirty="0" err="1" smtClean="0">
                <a:solidFill>
                  <a:srgbClr val="002060"/>
                </a:solidFill>
                <a:latin typeface="Rosatom" panose="020B0604020202020204"/>
              </a:rPr>
              <a:t>Госкорпорации</a:t>
            </a:r>
            <a:r>
              <a:rPr lang="ru-RU" dirty="0" smtClean="0">
                <a:solidFill>
                  <a:srgbClr val="002060"/>
                </a:solidFill>
                <a:latin typeface="Rosatom" panose="020B0604020202020204"/>
              </a:rPr>
              <a:t> </a:t>
            </a:r>
            <a:r>
              <a:rPr lang="ru-RU" dirty="0">
                <a:solidFill>
                  <a:srgbClr val="002060"/>
                </a:solidFill>
                <a:latin typeface="Rosatom" panose="020B0604020202020204"/>
              </a:rPr>
              <a:t>«</a:t>
            </a:r>
            <a:r>
              <a:rPr lang="ru-RU" dirty="0" smtClean="0">
                <a:solidFill>
                  <a:srgbClr val="002060"/>
                </a:solidFill>
                <a:latin typeface="Rosatom" panose="020B0604020202020204"/>
              </a:rPr>
              <a:t>Росатом</a:t>
            </a:r>
            <a:r>
              <a:rPr lang="ru-RU" dirty="0">
                <a:solidFill>
                  <a:srgbClr val="002060"/>
                </a:solidFill>
                <a:latin typeface="Rosatom" panose="020B0604020202020204"/>
              </a:rPr>
              <a:t>», но и поступившие по </a:t>
            </a:r>
            <a:r>
              <a:rPr lang="ru-RU" dirty="0" err="1">
                <a:solidFill>
                  <a:srgbClr val="002060"/>
                </a:solidFill>
                <a:latin typeface="Rosatom" panose="020B0604020202020204"/>
              </a:rPr>
              <a:t>общестрановой</a:t>
            </a:r>
            <a:r>
              <a:rPr lang="ru-RU" dirty="0">
                <a:solidFill>
                  <a:srgbClr val="002060"/>
                </a:solidFill>
                <a:latin typeface="Rosatom" panose="020B0604020202020204"/>
              </a:rPr>
              <a:t> квоте и на условиях равного приема для граждан </a:t>
            </a:r>
            <a:r>
              <a:rPr lang="ru-RU" dirty="0" smtClean="0">
                <a:solidFill>
                  <a:srgbClr val="002060"/>
                </a:solidFill>
                <a:latin typeface="Rosatom" panose="020B0604020202020204"/>
              </a:rPr>
              <a:t>СНГ)  в целях повышение </a:t>
            </a:r>
            <a:r>
              <a:rPr lang="ru-RU" dirty="0">
                <a:solidFill>
                  <a:srgbClr val="002060"/>
                </a:solidFill>
                <a:latin typeface="Rosatom" panose="020B0604020202020204"/>
              </a:rPr>
              <a:t>конкурса, </a:t>
            </a:r>
            <a:r>
              <a:rPr lang="ru-RU" dirty="0" smtClean="0">
                <a:solidFill>
                  <a:srgbClr val="002060"/>
                </a:solidFill>
                <a:latin typeface="Rosatom" panose="020B0604020202020204"/>
              </a:rPr>
              <a:t>расширения </a:t>
            </a:r>
            <a:r>
              <a:rPr lang="ru-RU" dirty="0">
                <a:solidFill>
                  <a:srgbClr val="002060"/>
                </a:solidFill>
                <a:latin typeface="Rosatom" panose="020B0604020202020204"/>
              </a:rPr>
              <a:t>возможностей для талантливых студентов </a:t>
            </a:r>
          </a:p>
          <a:p>
            <a:endParaRPr lang="ru-RU" dirty="0" smtClean="0">
              <a:solidFill>
                <a:srgbClr val="002060"/>
              </a:solidFill>
              <a:latin typeface="Rosatom" panose="020B0604020202020204"/>
            </a:endParaRPr>
          </a:p>
          <a:p>
            <a:r>
              <a:rPr lang="ru-RU" dirty="0" smtClean="0">
                <a:solidFill>
                  <a:srgbClr val="002060"/>
                </a:solidFill>
                <a:latin typeface="Rosatom" panose="020B0604020202020204"/>
              </a:rPr>
              <a:t>3. </a:t>
            </a:r>
            <a:r>
              <a:rPr lang="ru-RU" dirty="0" err="1" smtClean="0">
                <a:solidFill>
                  <a:srgbClr val="002060"/>
                </a:solidFill>
                <a:latin typeface="Rosatom" panose="020B0604020202020204"/>
              </a:rPr>
              <a:t>Госкорпорации</a:t>
            </a:r>
            <a:r>
              <a:rPr lang="ru-RU" dirty="0" smtClean="0">
                <a:solidFill>
                  <a:srgbClr val="002060"/>
                </a:solidFill>
                <a:latin typeface="Rosatom" panose="020B0604020202020204"/>
              </a:rPr>
              <a:t> «Росатом» </a:t>
            </a:r>
            <a:r>
              <a:rPr lang="ru-RU" b="1" dirty="0">
                <a:solidFill>
                  <a:srgbClr val="002060"/>
                </a:solidFill>
                <a:latin typeface="Rosatom" panose="020B0604020202020204"/>
              </a:rPr>
              <a:t>д</a:t>
            </a:r>
            <a:r>
              <a:rPr lang="ru-RU" b="1" dirty="0" smtClean="0">
                <a:solidFill>
                  <a:srgbClr val="002060"/>
                </a:solidFill>
                <a:latin typeface="Rosatom" panose="020B0604020202020204"/>
              </a:rPr>
              <a:t>оработать  </a:t>
            </a:r>
            <a:r>
              <a:rPr lang="ru-RU" b="1" dirty="0" err="1" smtClean="0">
                <a:solidFill>
                  <a:srgbClr val="002060"/>
                </a:solidFill>
                <a:latin typeface="Rosatom" panose="020B0604020202020204"/>
              </a:rPr>
              <a:t>балльно</a:t>
            </a:r>
            <a:r>
              <a:rPr lang="ru-RU" b="1" dirty="0" smtClean="0">
                <a:solidFill>
                  <a:srgbClr val="002060"/>
                </a:solidFill>
                <a:latin typeface="Rosatom" panose="020B0604020202020204"/>
              </a:rPr>
              <a:t>-рейтинговую систему </a:t>
            </a:r>
            <a:r>
              <a:rPr lang="ru-RU" b="1" dirty="0">
                <a:solidFill>
                  <a:srgbClr val="002060"/>
                </a:solidFill>
                <a:latin typeface="Rosatom" panose="020B0604020202020204"/>
              </a:rPr>
              <a:t>оценки </a:t>
            </a:r>
            <a:r>
              <a:rPr lang="ru-RU" dirty="0">
                <a:solidFill>
                  <a:srgbClr val="002060"/>
                </a:solidFill>
                <a:latin typeface="Rosatom" panose="020B0604020202020204"/>
              </a:rPr>
              <a:t>заявителей </a:t>
            </a:r>
            <a:r>
              <a:rPr lang="ru-RU" dirty="0" smtClean="0">
                <a:solidFill>
                  <a:srgbClr val="002060"/>
                </a:solidFill>
                <a:latin typeface="Rosatom" panose="020B0604020202020204"/>
              </a:rPr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002060"/>
                </a:solidFill>
                <a:latin typeface="Rosatom" panose="020B0604020202020204"/>
              </a:rPr>
              <a:t>увеличить вес решения кейсов второго этапа Конкурса для расширения возможностей участников попасть в финал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002060"/>
                </a:solidFill>
                <a:latin typeface="Rosatom" panose="020B0604020202020204"/>
              </a:rPr>
              <a:t>установить </a:t>
            </a:r>
            <a:r>
              <a:rPr lang="ru-RU" dirty="0">
                <a:solidFill>
                  <a:srgbClr val="002060"/>
                </a:solidFill>
                <a:latin typeface="Rosatom" panose="020B0604020202020204"/>
              </a:rPr>
              <a:t>максимальное количество баллов, которое участник может получить за выполнение одного кейса от 0 до 100, чтобы эксперт мог оценить задание по большей вариативностью </a:t>
            </a:r>
          </a:p>
          <a:p>
            <a:endParaRPr lang="ru-RU" dirty="0">
              <a:solidFill>
                <a:srgbClr val="002060"/>
              </a:solidFill>
              <a:latin typeface="Rosatom" panose="020B0604020202020204"/>
            </a:endParaRPr>
          </a:p>
          <a:p>
            <a:r>
              <a:rPr lang="ru-RU" dirty="0" smtClean="0">
                <a:solidFill>
                  <a:srgbClr val="002060"/>
                </a:solidFill>
                <a:latin typeface="Rosatom" panose="020B0604020202020204"/>
              </a:rPr>
              <a:t>4. Секретариату Комиссии стран СНГ оказать содействие в </a:t>
            </a:r>
            <a:r>
              <a:rPr lang="ru-RU" b="1" dirty="0" smtClean="0">
                <a:solidFill>
                  <a:srgbClr val="002060"/>
                </a:solidFill>
                <a:latin typeface="Rosatom" panose="020B0604020202020204"/>
              </a:rPr>
              <a:t>усилении информационной кампании </a:t>
            </a:r>
            <a:r>
              <a:rPr lang="ru-RU" dirty="0">
                <a:solidFill>
                  <a:srgbClr val="002060"/>
                </a:solidFill>
                <a:latin typeface="Rosatom" panose="020B0604020202020204"/>
              </a:rPr>
              <a:t>для привлечения большего количества участников из большего количества стран </a:t>
            </a:r>
            <a:r>
              <a:rPr lang="ru-RU" dirty="0" smtClean="0">
                <a:solidFill>
                  <a:srgbClr val="002060"/>
                </a:solidFill>
                <a:latin typeface="Rosatom" panose="020B0604020202020204"/>
              </a:rPr>
              <a:t>и </a:t>
            </a:r>
            <a:r>
              <a:rPr lang="ru-RU" b="1" dirty="0" smtClean="0">
                <a:solidFill>
                  <a:srgbClr val="002060"/>
                </a:solidFill>
                <a:latin typeface="Rosatom" panose="020B0604020202020204"/>
              </a:rPr>
              <a:t>потенциальных работодателей </a:t>
            </a:r>
            <a:r>
              <a:rPr lang="ru-RU" dirty="0" smtClean="0">
                <a:solidFill>
                  <a:srgbClr val="002060"/>
                </a:solidFill>
                <a:latin typeface="Rosatom" panose="020B0604020202020204"/>
              </a:rPr>
              <a:t>для сохранения талантливой молодёжи </a:t>
            </a:r>
            <a:endParaRPr lang="ru-RU" dirty="0">
              <a:solidFill>
                <a:srgbClr val="002060"/>
              </a:solidFill>
              <a:latin typeface="Rosatom" panose="020B0604020202020204"/>
            </a:endParaRPr>
          </a:p>
          <a:p>
            <a:endParaRPr lang="ru-RU" dirty="0">
              <a:solidFill>
                <a:srgbClr val="002060"/>
              </a:solidFill>
              <a:latin typeface="Rosatom" panose="020B0503040504020204" pitchFamily="34" charset="-52"/>
              <a:ea typeface="Rosatom" panose="020B0503040504020204" pitchFamily="34" charset="-52"/>
              <a:cs typeface="Arial" panose="020B0604020202020204" pitchFamily="34" charset="0"/>
            </a:endParaRPr>
          </a:p>
          <a:p>
            <a:r>
              <a:rPr lang="ru-RU" dirty="0" smtClean="0">
                <a:solidFill>
                  <a:srgbClr val="002060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" panose="020B0604020202020204" pitchFamily="34" charset="0"/>
              </a:rPr>
              <a:t>5. Сделать стипендию </a:t>
            </a:r>
            <a:r>
              <a:rPr lang="ru-RU" dirty="0" err="1" smtClean="0">
                <a:solidFill>
                  <a:srgbClr val="002060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" panose="020B0604020202020204" pitchFamily="34" charset="0"/>
              </a:rPr>
              <a:t>Госкорпорации</a:t>
            </a:r>
            <a:r>
              <a:rPr lang="ru-RU" dirty="0" smtClean="0">
                <a:solidFill>
                  <a:srgbClr val="002060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" panose="020B0604020202020204" pitchFamily="34" charset="0"/>
              </a:rPr>
              <a:t> «Росатом» </a:t>
            </a:r>
            <a:r>
              <a:rPr lang="ru-RU" b="1" dirty="0" smtClean="0">
                <a:solidFill>
                  <a:srgbClr val="002060"/>
                </a:solidFill>
                <a:latin typeface="Rosatom" panose="020B0503040504020204" pitchFamily="34" charset="-52"/>
                <a:ea typeface="Rosatom" panose="020B0503040504020204" pitchFamily="34" charset="-52"/>
                <a:cs typeface="Arial" panose="020B0604020202020204" pitchFamily="34" charset="0"/>
              </a:rPr>
              <a:t>именной </a:t>
            </a:r>
            <a:endParaRPr lang="ru-RU" b="1" dirty="0">
              <a:solidFill>
                <a:srgbClr val="002060"/>
              </a:solidFill>
              <a:latin typeface="Rosatom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2478329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_16x9_white_templat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2.xml><?xml version="1.0" encoding="utf-8"?>
<a:theme xmlns:a="http://schemas.openxmlformats.org/drawingml/2006/main" name="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кстовые слайды">
  <a:themeElements>
    <a:clrScheme name="Росатом 3">
      <a:dk1>
        <a:srgbClr val="333333"/>
      </a:dk1>
      <a:lt1>
        <a:srgbClr val="FFFFFF"/>
      </a:lt1>
      <a:dk2>
        <a:srgbClr val="56C02B"/>
      </a:dk2>
      <a:lt2>
        <a:srgbClr val="FCC30B"/>
      </a:lt2>
      <a:accent1>
        <a:srgbClr val="003274"/>
      </a:accent1>
      <a:accent2>
        <a:srgbClr val="025EA1"/>
      </a:accent2>
      <a:accent3>
        <a:srgbClr val="6CACE3"/>
      </a:accent3>
      <a:accent4>
        <a:srgbClr val="249789"/>
      </a:accent4>
      <a:accent5>
        <a:srgbClr val="FD6924"/>
      </a:accent5>
      <a:accent6>
        <a:srgbClr val="E20079"/>
      </a:accent6>
      <a:hlink>
        <a:srgbClr val="7F7F7F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xt picture">
  <a:themeElements>
    <a:clrScheme name="RA2">
      <a:dk1>
        <a:srgbClr val="333333"/>
      </a:dk1>
      <a:lt1>
        <a:sysClr val="window" lastClr="FFFFFF"/>
      </a:lt1>
      <a:dk2>
        <a:srgbClr val="FFFFFF"/>
      </a:dk2>
      <a:lt2>
        <a:srgbClr val="FFFFFF"/>
      </a:lt2>
      <a:accent1>
        <a:srgbClr val="003274"/>
      </a:accent1>
      <a:accent2>
        <a:srgbClr val="025EA1"/>
      </a:accent2>
      <a:accent3>
        <a:srgbClr val="6CACE4"/>
      </a:accent3>
      <a:accent4>
        <a:srgbClr val="B2C541"/>
      </a:accent4>
      <a:accent5>
        <a:srgbClr val="259789"/>
      </a:accent5>
      <a:accent6>
        <a:srgbClr val="7F7F7F"/>
      </a:accent6>
      <a:hlink>
        <a:srgbClr val="333333"/>
      </a:hlink>
      <a:folHlink>
        <a:srgbClr val="333333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99</TotalTime>
  <Words>1536</Words>
  <Application>Microsoft Office PowerPoint</Application>
  <PresentationFormat>Широкоэкранный</PresentationFormat>
  <Paragraphs>219</Paragraphs>
  <Slides>1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30" baseType="lpstr">
      <vt:lpstr>Arial</vt:lpstr>
      <vt:lpstr>Arial Regular</vt:lpstr>
      <vt:lpstr>Calibri</vt:lpstr>
      <vt:lpstr>Calibri Light</vt:lpstr>
      <vt:lpstr>Ebrima</vt:lpstr>
      <vt:lpstr>Noto Serif Light</vt:lpstr>
      <vt:lpstr>Rosatom</vt:lpstr>
      <vt:lpstr>Rosatom Light</vt:lpstr>
      <vt:lpstr>Times New Roman</vt:lpstr>
      <vt:lpstr>Presentation_16x9_white_template</vt:lpstr>
      <vt:lpstr>Firm Format - Russian</vt:lpstr>
      <vt:lpstr>Текстовые слайды</vt:lpstr>
      <vt:lpstr>Text picture</vt:lpstr>
      <vt:lpstr>Слайд think-cell</vt:lpstr>
      <vt:lpstr>Стипендия Госкорпорации «Росатом» для иностранных студентов – граждан государств – участников СНГ </vt:lpstr>
      <vt:lpstr>СТИПЕНДИЯ РОСАТОМА ДЛЯ СТУДЕНТОВ ИЗ СТРАН СНГ</vt:lpstr>
      <vt:lpstr> ЭТАПЫ ПРОВЕДЕНИЯ КОНКУРСА </vt:lpstr>
      <vt:lpstr>ПОДГОТОВИТЕЛЬНЫЙ ЭТАП</vt:lpstr>
      <vt:lpstr>ПЕРВЫЙ ЭТАП: оценка документов </vt:lpstr>
      <vt:lpstr>ВТОРОЙ ЭТАП: решение кейсов</vt:lpstr>
      <vt:lpstr>ОРГАНИЗАЦИЯ РАБОТЫ КОНКУРСНОЙ КОМИССИИ</vt:lpstr>
      <vt:lpstr>СПИСОК ФИНАЛИСТОВ:  рекомендован Конкурсной комиссией  к утверждению Госкорпорацей «Росатом»  </vt:lpstr>
      <vt:lpstr>ПРЕДЛОЖЕНИЯ В ПРОТОКОЛ</vt:lpstr>
      <vt:lpstr>Спасибо за внимание    VVKarezin@rosatom.ru</vt:lpstr>
      <vt:lpstr>Приложения</vt:lpstr>
      <vt:lpstr>СОСТАВ КОНКУРСНОЙ КОМИССИИ</vt:lpstr>
      <vt:lpstr>КВОТЫ ПО ЛИНИИ РОСАТОМА </vt:lpstr>
      <vt:lpstr>ИНФОРМАЦИОННАЯ КАМПАНИЯ: СТОРОННИЕ РЕСУРСЫ</vt:lpstr>
      <vt:lpstr>ИНФОРМАЦИОННАЯ КАМПАНИЯ: РЕСУРСЫ НИЯУ МИФИ</vt:lpstr>
      <vt:lpstr>ИТОГИ ПЕРВОГО ЭТАПА КОНКУРСА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ТЧЕТ по подпроекту  «ПРОГРАММА СТИПЕНДИЙ РОСАТОМА ДЛЯ ТАЛАНТЛИВЫХ ИНОСТРАННЫХ СТУДЕНТОВ»  12.04.2022 – 31.03.2024 гг.</dc:title>
  <dc:creator>user</dc:creator>
  <cp:lastModifiedBy>Упирова Вера Геннадьевна</cp:lastModifiedBy>
  <cp:revision>225</cp:revision>
  <cp:lastPrinted>2023-11-28T10:48:01Z</cp:lastPrinted>
  <dcterms:created xsi:type="dcterms:W3CDTF">2023-10-18T11:55:26Z</dcterms:created>
  <dcterms:modified xsi:type="dcterms:W3CDTF">2023-11-28T11:47:36Z</dcterms:modified>
</cp:coreProperties>
</file>